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notesSlides/notesSlide23.xml" ContentType="application/vnd.openxmlformats-officedocument.presentationml.notesSlide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17.xml" ContentType="application/vnd.openxmlformats-officedocument.presentationml.tags+xml"/>
  <Override PartName="/ppt/notesSlides/notesSlide33.xml" ContentType="application/vnd.openxmlformats-officedocument.presentationml.notesSlide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5.xml" ContentType="application/vnd.openxmlformats-officedocument.presentationml.tags+xml"/>
  <Override PartName="/ppt/notesSlides/notesSlide31.xml" ContentType="application/vnd.openxmlformats-officedocument.presentationml.notesSlide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notesSlides/notesSlide29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Default Extension="wmf" ContentType="image/x-wmf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notesSlides/notesSlide25.xml" ContentType="application/vnd.openxmlformats-officedocument.presentationml.notesSlide+xml"/>
  <Override PartName="/ppt/tags/tag29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36"/>
  </p:notesMasterIdLst>
  <p:handoutMasterIdLst>
    <p:handoutMasterId r:id="rId37"/>
  </p:handoutMasterIdLst>
  <p:sldIdLst>
    <p:sldId id="485" r:id="rId2"/>
    <p:sldId id="579" r:id="rId3"/>
    <p:sldId id="593" r:id="rId4"/>
    <p:sldId id="581" r:id="rId5"/>
    <p:sldId id="594" r:id="rId6"/>
    <p:sldId id="596" r:id="rId7"/>
    <p:sldId id="597" r:id="rId8"/>
    <p:sldId id="592" r:id="rId9"/>
    <p:sldId id="582" r:id="rId10"/>
    <p:sldId id="583" r:id="rId11"/>
    <p:sldId id="598" r:id="rId12"/>
    <p:sldId id="599" r:id="rId13"/>
    <p:sldId id="600" r:id="rId14"/>
    <p:sldId id="601" r:id="rId15"/>
    <p:sldId id="584" r:id="rId16"/>
    <p:sldId id="602" r:id="rId17"/>
    <p:sldId id="603" r:id="rId18"/>
    <p:sldId id="585" r:id="rId19"/>
    <p:sldId id="605" r:id="rId20"/>
    <p:sldId id="606" r:id="rId21"/>
    <p:sldId id="607" r:id="rId22"/>
    <p:sldId id="608" r:id="rId23"/>
    <p:sldId id="609" r:id="rId24"/>
    <p:sldId id="610" r:id="rId25"/>
    <p:sldId id="611" r:id="rId26"/>
    <p:sldId id="616" r:id="rId27"/>
    <p:sldId id="613" r:id="rId28"/>
    <p:sldId id="614" r:id="rId29"/>
    <p:sldId id="617" r:id="rId30"/>
    <p:sldId id="619" r:id="rId31"/>
    <p:sldId id="615" r:id="rId32"/>
    <p:sldId id="586" r:id="rId33"/>
    <p:sldId id="620" r:id="rId34"/>
    <p:sldId id="588" r:id="rId35"/>
  </p:sldIdLst>
  <p:sldSz cx="9144000" cy="6858000" type="screen4x3"/>
  <p:notesSz cx="6699250" cy="9836150"/>
  <p:custDataLst>
    <p:tags r:id="rId38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webPr encoding="windows-1252"/>
  <p:showPr loop="1" showNarration="1">
    <p:present/>
    <p:sldAll/>
    <p:penClr>
      <a:schemeClr val="tx1"/>
    </p:penClr>
  </p:showPr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000" autoAdjust="0"/>
    <p:restoredTop sz="94600" autoAdjust="0"/>
  </p:normalViewPr>
  <p:slideViewPr>
    <p:cSldViewPr snapToGrid="0">
      <p:cViewPr>
        <p:scale>
          <a:sx n="80" d="100"/>
          <a:sy n="80" d="100"/>
        </p:scale>
        <p:origin x="-150" y="42"/>
      </p:cViewPr>
      <p:guideLst>
        <p:guide orient="horz" pos="4319"/>
        <p:guide orient="horz" pos="1217"/>
        <p:guide pos="213"/>
        <p:guide pos="556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78138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01" tIns="44550" rIns="89101" bIns="44550" numCol="1" anchor="t" anchorCtr="0" compatLnSpc="1">
            <a:prstTxWarp prst="textNoShape">
              <a:avLst/>
            </a:prstTxWarp>
          </a:bodyPr>
          <a:lstStyle>
            <a:lvl1pPr defTabSz="889000" eaLnBrk="1" hangingPunct="1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591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62375" y="0"/>
            <a:ext cx="2952750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01" tIns="44550" rIns="89101" bIns="44550" numCol="1" anchor="t" anchorCtr="0" compatLnSpc="1">
            <a:prstTxWarp prst="textNoShape">
              <a:avLst/>
            </a:prstTxWarp>
          </a:bodyPr>
          <a:lstStyle>
            <a:lvl1pPr algn="r" defTabSz="889000" eaLnBrk="1" hangingPunct="1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591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23388"/>
            <a:ext cx="2878138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01" tIns="44550" rIns="89101" bIns="44550" numCol="1" anchor="b" anchorCtr="0" compatLnSpc="1">
            <a:prstTxWarp prst="textNoShape">
              <a:avLst/>
            </a:prstTxWarp>
          </a:bodyPr>
          <a:lstStyle>
            <a:lvl1pPr defTabSz="889000" eaLnBrk="1" hangingPunct="1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591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62375" y="9323388"/>
            <a:ext cx="2952750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01" tIns="44550" rIns="89101" bIns="44550" numCol="1" anchor="b" anchorCtr="0" compatLnSpc="1">
            <a:prstTxWarp prst="textNoShape">
              <a:avLst/>
            </a:prstTxWarp>
          </a:bodyPr>
          <a:lstStyle>
            <a:lvl1pPr algn="r" defTabSz="889000" eaLnBrk="1" hangingPunct="1">
              <a:defRPr sz="1200"/>
            </a:lvl1pPr>
          </a:lstStyle>
          <a:p>
            <a:pPr>
              <a:defRPr/>
            </a:pPr>
            <a:fld id="{9B3F6839-E42C-4FBE-90A4-B1EEC9968F82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0195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t" anchorCtr="0" compatLnSpc="1">
            <a:prstTxWarp prst="textNoShape">
              <a:avLst/>
            </a:prstTxWarp>
          </a:bodyPr>
          <a:lstStyle>
            <a:lvl1pPr defTabSz="942975" eaLnBrk="1" hangingPunct="1">
              <a:defRPr sz="13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97300" y="0"/>
            <a:ext cx="290195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t" anchorCtr="0" compatLnSpc="1">
            <a:prstTxWarp prst="textNoShape">
              <a:avLst/>
            </a:prstTxWarp>
          </a:bodyPr>
          <a:lstStyle>
            <a:lvl1pPr algn="r" defTabSz="942975" eaLnBrk="1" hangingPunct="1">
              <a:defRPr sz="13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7892" name="Rectangle 4"/>
          <p:cNvSpPr>
            <a:spLocks noChangeArrowheads="1" noTextEdit="1"/>
          </p:cNvSpPr>
          <p:nvPr>
            <p:ph type="sldImg" idx="2"/>
          </p:nvPr>
        </p:nvSpPr>
        <p:spPr bwMode="auto">
          <a:xfrm>
            <a:off x="890588" y="738188"/>
            <a:ext cx="4919662" cy="36893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3763" y="4672013"/>
            <a:ext cx="4911725" cy="442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Klicken Sie, um die Formate des Vorlagentextes zu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45613"/>
            <a:ext cx="29019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b" anchorCtr="0" compatLnSpc="1">
            <a:prstTxWarp prst="textNoShape">
              <a:avLst/>
            </a:prstTxWarp>
          </a:bodyPr>
          <a:lstStyle>
            <a:lvl1pPr defTabSz="942975" eaLnBrk="1" hangingPunct="1">
              <a:defRPr sz="13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97300" y="9345613"/>
            <a:ext cx="29019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b" anchorCtr="0" compatLnSpc="1">
            <a:prstTxWarp prst="textNoShape">
              <a:avLst/>
            </a:prstTxWarp>
          </a:bodyPr>
          <a:lstStyle>
            <a:lvl1pPr algn="r" defTabSz="942975" eaLnBrk="1" hangingPunct="1">
              <a:defRPr sz="1300"/>
            </a:lvl1pPr>
          </a:lstStyle>
          <a:p>
            <a:pPr>
              <a:defRPr/>
            </a:pPr>
            <a:fld id="{BAE91948-C57D-47F1-83F0-4B2CAE7C1E5F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E3B41E6-C319-4AEC-A0FC-763ED9FE9F34}" type="slidenum">
              <a:rPr lang="en-GB" smtClean="0"/>
              <a:pPr/>
              <a:t>1</a:t>
            </a:fld>
            <a:endParaRPr lang="en-GB" smtClean="0"/>
          </a:p>
        </p:txBody>
      </p:sp>
      <p:sp>
        <p:nvSpPr>
          <p:cNvPr id="38915" name="Rectangle 1026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  <p:sp>
        <p:nvSpPr>
          <p:cNvPr id="38916" name="Rectangle 1027"/>
          <p:cNvSpPr>
            <a:spLocks noChangeArrowheads="1" noTextEdit="1"/>
          </p:cNvSpPr>
          <p:nvPr>
            <p:ph type="sldImg"/>
          </p:nvPr>
        </p:nvSpPr>
        <p:spPr>
          <a:xfrm>
            <a:off x="1588" y="0"/>
            <a:ext cx="6696075" cy="5022850"/>
          </a:xfrm>
          <a:ln/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2C04D3-B194-4CF7-90F2-B3097FD97A20}" type="slidenum">
              <a:rPr lang="en-GB" smtClean="0"/>
              <a:pPr/>
              <a:t>10</a:t>
            </a:fld>
            <a:endParaRPr lang="en-GB" smtClean="0"/>
          </a:p>
        </p:txBody>
      </p:sp>
      <p:sp>
        <p:nvSpPr>
          <p:cNvPr id="48131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D30AA39-24AD-49AF-8589-68F8CE6B0C08}" type="slidenum">
              <a:rPr lang="en-GB" smtClean="0"/>
              <a:pPr/>
              <a:t>11</a:t>
            </a:fld>
            <a:endParaRPr lang="en-GB" smtClean="0"/>
          </a:p>
        </p:txBody>
      </p:sp>
      <p:sp>
        <p:nvSpPr>
          <p:cNvPr id="49155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D2BEA77-CC53-4E29-8E2D-DF0D167FA580}" type="slidenum">
              <a:rPr lang="en-GB" smtClean="0"/>
              <a:pPr/>
              <a:t>12</a:t>
            </a:fld>
            <a:endParaRPr lang="en-GB" smtClean="0"/>
          </a:p>
        </p:txBody>
      </p:sp>
      <p:sp>
        <p:nvSpPr>
          <p:cNvPr id="50179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BC9F657-2520-4BA9-90BF-EDB7FAF78E41}" type="slidenum">
              <a:rPr lang="en-GB" smtClean="0"/>
              <a:pPr/>
              <a:t>13</a:t>
            </a:fld>
            <a:endParaRPr lang="en-GB" smtClean="0"/>
          </a:p>
        </p:txBody>
      </p:sp>
      <p:sp>
        <p:nvSpPr>
          <p:cNvPr id="51203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512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F9922FC-C022-4ECD-B6F0-7AABFDBB1CBE}" type="slidenum">
              <a:rPr lang="en-GB" smtClean="0"/>
              <a:pPr/>
              <a:t>14</a:t>
            </a:fld>
            <a:endParaRPr lang="en-GB" smtClean="0"/>
          </a:p>
        </p:txBody>
      </p:sp>
      <p:sp>
        <p:nvSpPr>
          <p:cNvPr id="52227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53D091A-A873-4CBB-B3A7-0012B88D8998}" type="slidenum">
              <a:rPr lang="en-GB" smtClean="0"/>
              <a:pPr/>
              <a:t>15</a:t>
            </a:fld>
            <a:endParaRPr lang="en-GB" smtClean="0"/>
          </a:p>
        </p:txBody>
      </p:sp>
      <p:sp>
        <p:nvSpPr>
          <p:cNvPr id="53251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532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1EC9C82-7AAA-41B5-BA90-1AC09F336562}" type="slidenum">
              <a:rPr lang="en-GB" smtClean="0"/>
              <a:pPr/>
              <a:t>16</a:t>
            </a:fld>
            <a:endParaRPr lang="en-GB" smtClean="0"/>
          </a:p>
        </p:txBody>
      </p:sp>
      <p:sp>
        <p:nvSpPr>
          <p:cNvPr id="54275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C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C546FC8-02CA-4040-8769-59BF76357169}" type="slidenum">
              <a:rPr lang="en-GB" smtClean="0"/>
              <a:pPr/>
              <a:t>17</a:t>
            </a:fld>
            <a:endParaRPr lang="en-GB" smtClean="0"/>
          </a:p>
        </p:txBody>
      </p:sp>
      <p:sp>
        <p:nvSpPr>
          <p:cNvPr id="55299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C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16D577F-FDC2-407B-83DF-4DD4505B64B4}" type="slidenum">
              <a:rPr lang="en-GB" smtClean="0"/>
              <a:pPr/>
              <a:t>18</a:t>
            </a:fld>
            <a:endParaRPr lang="en-GB" smtClean="0"/>
          </a:p>
        </p:txBody>
      </p:sp>
      <p:sp>
        <p:nvSpPr>
          <p:cNvPr id="56323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0630BC4-1258-4979-8036-615E4B565C31}" type="slidenum">
              <a:rPr lang="en-GB" smtClean="0"/>
              <a:pPr/>
              <a:t>19</a:t>
            </a:fld>
            <a:endParaRPr lang="en-GB" smtClean="0"/>
          </a:p>
        </p:txBody>
      </p:sp>
      <p:sp>
        <p:nvSpPr>
          <p:cNvPr id="57347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9CED91F-8993-40AE-BED8-B4114A1D11B1}" type="slidenum">
              <a:rPr lang="en-GB" smtClean="0"/>
              <a:pPr/>
              <a:t>2</a:t>
            </a:fld>
            <a:endParaRPr lang="en-GB" smtClean="0"/>
          </a:p>
        </p:txBody>
      </p:sp>
      <p:sp>
        <p:nvSpPr>
          <p:cNvPr id="39939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99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C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4D88F09-8009-4B80-87AF-5BEEA92F4B10}" type="slidenum">
              <a:rPr lang="en-GB" smtClean="0"/>
              <a:pPr/>
              <a:t>20</a:t>
            </a:fld>
            <a:endParaRPr lang="en-GB" smtClean="0"/>
          </a:p>
        </p:txBody>
      </p:sp>
      <p:sp>
        <p:nvSpPr>
          <p:cNvPr id="58371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583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886C068-0721-47D0-B165-53C401F7CE7C}" type="slidenum">
              <a:rPr lang="en-GB" smtClean="0"/>
              <a:pPr/>
              <a:t>21</a:t>
            </a:fld>
            <a:endParaRPr lang="en-GB" smtClean="0"/>
          </a:p>
        </p:txBody>
      </p:sp>
      <p:sp>
        <p:nvSpPr>
          <p:cNvPr id="59395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593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B6E7F66-03BE-4257-8FAD-550A1445220E}" type="slidenum">
              <a:rPr lang="en-GB" smtClean="0"/>
              <a:pPr/>
              <a:t>22</a:t>
            </a:fld>
            <a:endParaRPr lang="en-GB" smtClean="0"/>
          </a:p>
        </p:txBody>
      </p:sp>
      <p:sp>
        <p:nvSpPr>
          <p:cNvPr id="60419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3FFDC44-6EE5-4168-A1DF-C6178AF795C9}" type="slidenum">
              <a:rPr lang="en-GB" smtClean="0"/>
              <a:pPr/>
              <a:t>23</a:t>
            </a:fld>
            <a:endParaRPr lang="en-GB" smtClean="0"/>
          </a:p>
        </p:txBody>
      </p:sp>
      <p:sp>
        <p:nvSpPr>
          <p:cNvPr id="61443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E6773F4-FF91-442F-9703-3A1C6FCC1A85}" type="slidenum">
              <a:rPr lang="en-GB" smtClean="0"/>
              <a:pPr/>
              <a:t>24</a:t>
            </a:fld>
            <a:endParaRPr lang="en-GB" smtClean="0"/>
          </a:p>
        </p:txBody>
      </p:sp>
      <p:sp>
        <p:nvSpPr>
          <p:cNvPr id="62467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6A30CDA-345D-4496-9A1F-18230028BAAF}" type="slidenum">
              <a:rPr lang="en-GB" smtClean="0"/>
              <a:pPr/>
              <a:t>25</a:t>
            </a:fld>
            <a:endParaRPr lang="en-GB" smtClean="0"/>
          </a:p>
        </p:txBody>
      </p:sp>
      <p:sp>
        <p:nvSpPr>
          <p:cNvPr id="63491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634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ABF0295-166B-4041-9B3F-96E740442829}" type="slidenum">
              <a:rPr lang="en-GB" smtClean="0"/>
              <a:pPr/>
              <a:t>26</a:t>
            </a:fld>
            <a:endParaRPr lang="en-GB" smtClean="0"/>
          </a:p>
        </p:txBody>
      </p:sp>
      <p:sp>
        <p:nvSpPr>
          <p:cNvPr id="64515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6451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1C3ADB4-C480-44F6-B375-B478734BD74D}" type="slidenum">
              <a:rPr lang="en-GB" smtClean="0"/>
              <a:pPr/>
              <a:t>27</a:t>
            </a:fld>
            <a:endParaRPr lang="en-GB" smtClean="0"/>
          </a:p>
        </p:txBody>
      </p:sp>
      <p:sp>
        <p:nvSpPr>
          <p:cNvPr id="65539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6554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D15C1CC-A952-40D4-8EDA-2A551112EA5A}" type="slidenum">
              <a:rPr lang="en-GB" smtClean="0"/>
              <a:pPr/>
              <a:t>28</a:t>
            </a:fld>
            <a:endParaRPr lang="en-GB" smtClean="0"/>
          </a:p>
        </p:txBody>
      </p:sp>
      <p:sp>
        <p:nvSpPr>
          <p:cNvPr id="66563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D0F8BC7-0F4A-4A3D-A43B-3977B77CB122}" type="slidenum">
              <a:rPr lang="en-GB" smtClean="0"/>
              <a:pPr/>
              <a:t>29</a:t>
            </a:fld>
            <a:endParaRPr lang="en-GB" smtClean="0"/>
          </a:p>
        </p:txBody>
      </p:sp>
      <p:sp>
        <p:nvSpPr>
          <p:cNvPr id="67587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58337C1-28E6-4551-B28B-BE6B3032170F}" type="slidenum">
              <a:rPr lang="en-GB" smtClean="0"/>
              <a:pPr/>
              <a:t>3</a:t>
            </a:fld>
            <a:endParaRPr lang="en-GB" smtClean="0"/>
          </a:p>
        </p:txBody>
      </p:sp>
      <p:sp>
        <p:nvSpPr>
          <p:cNvPr id="40963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C" smtClean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44589FB-380A-40CD-AAB2-83CCDC546C51}" type="slidenum">
              <a:rPr lang="en-GB" smtClean="0"/>
              <a:pPr/>
              <a:t>30</a:t>
            </a:fld>
            <a:endParaRPr lang="en-GB" smtClean="0"/>
          </a:p>
        </p:txBody>
      </p:sp>
      <p:sp>
        <p:nvSpPr>
          <p:cNvPr id="68611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5EEF99D-0AD7-4ED4-9B35-C06898628F89}" type="slidenum">
              <a:rPr lang="en-GB" smtClean="0"/>
              <a:pPr/>
              <a:t>31</a:t>
            </a:fld>
            <a:endParaRPr lang="en-GB" smtClean="0"/>
          </a:p>
        </p:txBody>
      </p:sp>
      <p:sp>
        <p:nvSpPr>
          <p:cNvPr id="69635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F8D8915-91DE-4E99-8BC5-4094BA2E1B20}" type="slidenum">
              <a:rPr lang="en-GB" smtClean="0"/>
              <a:pPr/>
              <a:t>32</a:t>
            </a:fld>
            <a:endParaRPr lang="en-GB" smtClean="0"/>
          </a:p>
        </p:txBody>
      </p:sp>
      <p:sp>
        <p:nvSpPr>
          <p:cNvPr id="70659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706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76AB0C4-B90D-4CC4-B788-DBD67280E8B0}" type="slidenum">
              <a:rPr lang="en-GB" smtClean="0"/>
              <a:pPr/>
              <a:t>33</a:t>
            </a:fld>
            <a:endParaRPr lang="en-GB" smtClean="0"/>
          </a:p>
        </p:txBody>
      </p:sp>
      <p:sp>
        <p:nvSpPr>
          <p:cNvPr id="71683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716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B95807F-55E0-4D8A-B5A5-E35CA2D76673}" type="slidenum">
              <a:rPr lang="en-GB" smtClean="0"/>
              <a:pPr/>
              <a:t>34</a:t>
            </a:fld>
            <a:endParaRPr lang="en-GB" smtClean="0"/>
          </a:p>
        </p:txBody>
      </p:sp>
      <p:sp>
        <p:nvSpPr>
          <p:cNvPr id="72707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27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C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47D33C6-1EA5-4F07-B777-E44A3BAC6EE7}" type="slidenum">
              <a:rPr lang="en-GB" smtClean="0"/>
              <a:pPr/>
              <a:t>4</a:t>
            </a:fld>
            <a:endParaRPr lang="en-GB" smtClean="0"/>
          </a:p>
        </p:txBody>
      </p:sp>
      <p:sp>
        <p:nvSpPr>
          <p:cNvPr id="41987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9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C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195FDF0-ADF5-431F-8A5C-71198EE1CD71}" type="slidenum">
              <a:rPr lang="en-GB" smtClean="0"/>
              <a:pPr/>
              <a:t>5</a:t>
            </a:fld>
            <a:endParaRPr lang="en-GB" smtClean="0"/>
          </a:p>
        </p:txBody>
      </p:sp>
      <p:sp>
        <p:nvSpPr>
          <p:cNvPr id="43011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C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A385ACC-9764-4873-B976-275631432A84}" type="slidenum">
              <a:rPr lang="en-GB" smtClean="0"/>
              <a:pPr/>
              <a:t>6</a:t>
            </a:fld>
            <a:endParaRPr lang="en-GB" smtClean="0"/>
          </a:p>
        </p:txBody>
      </p:sp>
      <p:sp>
        <p:nvSpPr>
          <p:cNvPr id="44035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AC2DF70-5E45-4EC9-9088-866601B1D255}" type="slidenum">
              <a:rPr lang="en-GB" smtClean="0"/>
              <a:pPr/>
              <a:t>7</a:t>
            </a:fld>
            <a:endParaRPr lang="en-GB" smtClean="0"/>
          </a:p>
        </p:txBody>
      </p:sp>
      <p:sp>
        <p:nvSpPr>
          <p:cNvPr id="45059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C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3FEBDD5-BE51-48ED-9B82-9A57D15D1571}" type="slidenum">
              <a:rPr lang="en-GB" smtClean="0"/>
              <a:pPr/>
              <a:t>8</a:t>
            </a:fld>
            <a:endParaRPr lang="en-GB" smtClean="0"/>
          </a:p>
        </p:txBody>
      </p:sp>
      <p:sp>
        <p:nvSpPr>
          <p:cNvPr id="46083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C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26958DF-20F6-491D-9A07-F59B194E31BB}" type="slidenum">
              <a:rPr lang="en-GB" smtClean="0"/>
              <a:pPr/>
              <a:t>9</a:t>
            </a:fld>
            <a:endParaRPr lang="en-GB" smtClean="0"/>
          </a:p>
        </p:txBody>
      </p:sp>
      <p:sp>
        <p:nvSpPr>
          <p:cNvPr id="47107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C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3" descr="PP small"/>
          <p:cNvPicPr>
            <a:picLocks noChangeAspect="1" noChangeArrowheads="1"/>
          </p:cNvPicPr>
          <p:nvPr userDrawn="1"/>
        </p:nvPicPr>
        <p:blipFill>
          <a:blip r:embed="rId3"/>
          <a:srcRect b="34532"/>
          <a:stretch>
            <a:fillRect/>
          </a:stretch>
        </p:blipFill>
        <p:spPr bwMode="auto">
          <a:xfrm>
            <a:off x="6432550" y="6191250"/>
            <a:ext cx="2419350" cy="3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45506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338138" y="635000"/>
            <a:ext cx="8488362" cy="1192213"/>
          </a:xfrm>
        </p:spPr>
        <p:txBody>
          <a:bodyPr lIns="91440" rIns="91440" anchor="b"/>
          <a:lstStyle>
            <a:lvl1pPr>
              <a:defRPr sz="38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45507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38138" y="1741488"/>
            <a:ext cx="8496300" cy="904875"/>
          </a:xfrm>
        </p:spPr>
        <p:txBody>
          <a:bodyPr lIns="91440" rIns="91440" anchor="ctr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sz="2200" b="1"/>
            </a:lvl1pPr>
          </a:lstStyle>
          <a:p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 spd="med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C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C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ere comes your footer    Page 21</a:t>
            </a:r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711950" y="114300"/>
            <a:ext cx="2132013" cy="555148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C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14325" y="114300"/>
            <a:ext cx="6245225" cy="5551488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C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ere comes your footer    Page 21</a:t>
            </a:r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C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C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ere comes your footer    Page 21</a:t>
            </a:r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C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ere comes your footer    Page 21</a:t>
            </a:r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C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19088" y="1636713"/>
            <a:ext cx="4186237" cy="4029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C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57725" y="1636713"/>
            <a:ext cx="4186238" cy="4029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C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ere comes your footer    Page 21</a:t>
            </a:r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C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C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C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ere comes your footer    Page 21</a:t>
            </a:r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C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ere comes your footer    Page 21</a:t>
            </a:r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ere comes your footer    Page 21</a:t>
            </a:r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C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C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ere comes your footer    Page 21</a:t>
            </a:r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C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C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ere comes your footer    Page 21</a:t>
            </a:r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48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4325" y="114300"/>
            <a:ext cx="852011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accent1"/>
            </a:outerShdw>
          </a:effec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de-DE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9088" y="1636713"/>
            <a:ext cx="8524875" cy="402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4448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76225" y="6408738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/>
              <a:t>Here comes your footer    Page 21</a:t>
            </a:r>
            <a:endParaRPr lang="de-DE"/>
          </a:p>
        </p:txBody>
      </p:sp>
      <p:pic>
        <p:nvPicPr>
          <p:cNvPr id="3077" name="Picture 16" descr="PP small"/>
          <p:cNvPicPr>
            <a:picLocks noChangeAspect="1" noChangeArrowheads="1"/>
          </p:cNvPicPr>
          <p:nvPr userDrawn="1"/>
        </p:nvPicPr>
        <p:blipFill>
          <a:blip r:embed="rId14"/>
          <a:srcRect b="34532"/>
          <a:stretch>
            <a:fillRect/>
          </a:stretch>
        </p:blipFill>
        <p:spPr bwMode="auto">
          <a:xfrm>
            <a:off x="6432550" y="6191250"/>
            <a:ext cx="2419350" cy="3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ransition spd="med">
    <p:wipe dir="r"/>
  </p:transition>
  <p:hf sldNum="0" hdr="0" ft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Arial" charset="0"/>
        </a:defRPr>
      </a:lvl9pPr>
    </p:titleStyle>
    <p:bodyStyle>
      <a:lvl1pPr marL="190500" indent="-190500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381000" indent="-188913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Char char="-"/>
        <a:defRPr sz="2800">
          <a:solidFill>
            <a:schemeClr val="tx1"/>
          </a:solidFill>
          <a:latin typeface="+mn-lt"/>
        </a:defRPr>
      </a:lvl2pPr>
      <a:lvl3pPr marL="561975" indent="-179388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Char char="-"/>
        <a:defRPr sz="2400">
          <a:solidFill>
            <a:schemeClr val="tx1"/>
          </a:solidFill>
          <a:latin typeface="+mn-lt"/>
        </a:defRPr>
      </a:lvl3pPr>
      <a:lvl4pPr marL="768350" indent="-204788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Char char="-"/>
        <a:defRPr sz="2000">
          <a:solidFill>
            <a:schemeClr val="tx1"/>
          </a:solidFill>
          <a:latin typeface="+mn-lt"/>
        </a:defRPr>
      </a:lvl4pPr>
      <a:lvl5pPr marL="1050925" indent="-168275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»"/>
        <a:defRPr sz="2000">
          <a:solidFill>
            <a:schemeClr val="tx1"/>
          </a:solidFill>
          <a:latin typeface="+mn-lt"/>
        </a:defRPr>
      </a:lvl5pPr>
      <a:lvl6pPr marL="1508125" indent="-168275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defRPr>
          <a:solidFill>
            <a:schemeClr val="tx1"/>
          </a:solidFill>
          <a:latin typeface="+mn-lt"/>
        </a:defRPr>
      </a:lvl6pPr>
      <a:lvl7pPr marL="1965325" indent="-168275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defRPr>
          <a:solidFill>
            <a:schemeClr val="tx1"/>
          </a:solidFill>
          <a:latin typeface="+mn-lt"/>
        </a:defRPr>
      </a:lvl7pPr>
      <a:lvl8pPr marL="2422525" indent="-168275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defRPr>
          <a:solidFill>
            <a:schemeClr val="tx1"/>
          </a:solidFill>
          <a:latin typeface="+mn-lt"/>
        </a:defRPr>
      </a:lvl8pPr>
      <a:lvl9pPr marL="2879725" indent="-168275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defRPr>
          <a:solidFill>
            <a:schemeClr val="tx1"/>
          </a:solidFill>
          <a:latin typeface="+mn-lt"/>
        </a:defRPr>
      </a:lvl9pPr>
    </p:bodyStyle>
    <p:otherStyle>
      <a:defPPr>
        <a:defRPr lang="es-EC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4" Type="http://schemas.openxmlformats.org/officeDocument/2006/relationships/image" Target="../media/image7.w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4" Type="http://schemas.openxmlformats.org/officeDocument/2006/relationships/image" Target="../media/image10.w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4" Type="http://schemas.openxmlformats.org/officeDocument/2006/relationships/image" Target="../media/image11.w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4" Type="http://schemas.openxmlformats.org/officeDocument/2006/relationships/image" Target="../media/image12.w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4" Type="http://schemas.openxmlformats.org/officeDocument/2006/relationships/image" Target="../media/image1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4" Type="http://schemas.openxmlformats.org/officeDocument/2006/relationships/image" Target="../media/image1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4" Type="http://schemas.openxmlformats.org/officeDocument/2006/relationships/image" Target="../media/image1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4" Type="http://schemas.openxmlformats.org/officeDocument/2006/relationships/image" Target="../media/image16.w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8.xml"/><Relationship Id="rId4" Type="http://schemas.openxmlformats.org/officeDocument/2006/relationships/image" Target="../media/image17.w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0.xml"/><Relationship Id="rId5" Type="http://schemas.openxmlformats.org/officeDocument/2006/relationships/image" Target="../media/image19.wmf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4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hyperlink" Target="http://www.ppt-vorlagen.de/" TargetMode="External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tags" Target="../tags/tag29.xml"/><Relationship Id="rId11" Type="http://schemas.openxmlformats.org/officeDocument/2006/relationships/hyperlink" Target="http://www.presentationpoint.de/" TargetMode="External"/><Relationship Id="rId5" Type="http://schemas.openxmlformats.org/officeDocument/2006/relationships/tags" Target="../tags/tag28.xml"/><Relationship Id="rId10" Type="http://schemas.openxmlformats.org/officeDocument/2006/relationships/oleObject" Target="../embeddings/oleObject2.bin"/><Relationship Id="rId4" Type="http://schemas.openxmlformats.org/officeDocument/2006/relationships/tags" Target="../tags/tag27.xml"/><Relationship Id="rId9" Type="http://schemas.openxmlformats.org/officeDocument/2006/relationships/notesSlide" Target="../notesSlides/notesSlide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3198" name="Rectangle 14"/>
          <p:cNvSpPr>
            <a:spLocks noGrp="1" noChangeArrowheads="1"/>
          </p:cNvSpPr>
          <p:nvPr>
            <p:ph type="ctrTitle"/>
          </p:nvPr>
        </p:nvSpPr>
        <p:spPr>
          <a:xfrm>
            <a:off x="338138" y="635000"/>
            <a:ext cx="8488362" cy="2627313"/>
          </a:xfrm>
        </p:spPr>
        <p:txBody>
          <a:bodyPr/>
          <a:lstStyle/>
          <a:p>
            <a:pPr>
              <a:defRPr/>
            </a:pPr>
            <a:r>
              <a:rPr lang="es-EC" sz="3200" dirty="0" smtClean="0"/>
              <a:t>Implementación de un Sistema de Gestión a través de indicadores que midan el desempeño en el área de producción de una empresa cuya actividad económica es la venta de ropa por catálogo</a:t>
            </a:r>
            <a:endParaRPr lang="es-EC" sz="3000" dirty="0"/>
          </a:p>
        </p:txBody>
      </p:sp>
      <p:sp>
        <p:nvSpPr>
          <p:cNvPr id="5123" name="Rectangle 15"/>
          <p:cNvSpPr>
            <a:spLocks noGrp="1" noChangeArrowheads="1"/>
          </p:cNvSpPr>
          <p:nvPr>
            <p:ph type="subTitle" idx="1"/>
          </p:nvPr>
        </p:nvSpPr>
        <p:spPr>
          <a:xfrm>
            <a:off x="338138" y="4013200"/>
            <a:ext cx="8496300" cy="885825"/>
          </a:xfrm>
        </p:spPr>
        <p:txBody>
          <a:bodyPr/>
          <a:lstStyle/>
          <a:p>
            <a:r>
              <a:rPr lang="es-ES" sz="2400" smtClean="0"/>
              <a:t>SEMINARIO DE GRADUACIÓN: ESTRATEGIA APLICADA AL CONTROL ADMINISTRATIVO Y FINANCIERO</a:t>
            </a:r>
            <a:endParaRPr lang="es-EC" smtClean="0"/>
          </a:p>
        </p:txBody>
      </p:sp>
      <p:sp>
        <p:nvSpPr>
          <p:cNvPr id="4" name="3 Marcador de pie de página"/>
          <p:cNvSpPr txBox="1">
            <a:spLocks/>
          </p:cNvSpPr>
          <p:nvPr/>
        </p:nvSpPr>
        <p:spPr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pPr>
              <a:defRPr/>
            </a:pPr>
            <a:r>
              <a:rPr lang="de-DE" sz="1200" b="1" i="1" dirty="0"/>
              <a:t>Ing. Auditoría y Contaduría Pública Autorizada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16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13315" name="Rectangle 12"/>
          <p:cNvSpPr>
            <a:spLocks noChangeArrowheads="1"/>
          </p:cNvSpPr>
          <p:nvPr/>
        </p:nvSpPr>
        <p:spPr bwMode="auto">
          <a:xfrm>
            <a:off x="327025" y="1816100"/>
            <a:ext cx="2060575" cy="238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algn="just"/>
            <a:endParaRPr lang="es-ES"/>
          </a:p>
        </p:txBody>
      </p:sp>
      <p:sp>
        <p:nvSpPr>
          <p:cNvPr id="13316" name="Rectangle 15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de-DE" b="1">
                <a:solidFill>
                  <a:schemeClr val="accent1"/>
                </a:solidFill>
              </a:rPr>
              <a:t>Análisis de la Cadena de Valor</a:t>
            </a:r>
          </a:p>
        </p:txBody>
      </p:sp>
      <p:pic>
        <p:nvPicPr>
          <p:cNvPr id="13317" name="Picture 14"/>
          <p:cNvPicPr>
            <a:picLocks noChangeAspect="1" noChangeArrowheads="1"/>
          </p:cNvPicPr>
          <p:nvPr/>
        </p:nvPicPr>
        <p:blipFill>
          <a:blip r:embed="rId4"/>
          <a:srcRect l="3651" t="5721" r="2820" b="3976"/>
          <a:stretch>
            <a:fillRect/>
          </a:stretch>
        </p:blipFill>
        <p:spPr bwMode="auto">
          <a:xfrm>
            <a:off x="1436688" y="1698625"/>
            <a:ext cx="6329362" cy="4262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3 Marcador de pie de página"/>
          <p:cNvSpPr txBox="1">
            <a:spLocks/>
          </p:cNvSpPr>
          <p:nvPr/>
        </p:nvSpPr>
        <p:spPr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de-DE" sz="1200" b="1" i="1" dirty="0"/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16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14339" name="Rectangle 15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de-DE" b="1">
                <a:solidFill>
                  <a:schemeClr val="accent1"/>
                </a:solidFill>
              </a:rPr>
              <a:t>Análisis y Matriz FODA</a:t>
            </a:r>
          </a:p>
        </p:txBody>
      </p:sp>
      <p:pic>
        <p:nvPicPr>
          <p:cNvPr id="14340" name="Picture 2"/>
          <p:cNvPicPr>
            <a:picLocks noChangeAspect="1" noChangeArrowheads="1"/>
          </p:cNvPicPr>
          <p:nvPr/>
        </p:nvPicPr>
        <p:blipFill>
          <a:blip r:embed="rId4"/>
          <a:srcRect l="4271" t="27208" r="17340" b="28751"/>
          <a:stretch>
            <a:fillRect/>
          </a:stretch>
        </p:blipFill>
        <p:spPr bwMode="auto">
          <a:xfrm>
            <a:off x="925513" y="1722438"/>
            <a:ext cx="7016750" cy="425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3 Marcador de pie de página"/>
          <p:cNvSpPr txBox="1">
            <a:spLocks/>
          </p:cNvSpPr>
          <p:nvPr/>
        </p:nvSpPr>
        <p:spPr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de-DE" sz="1200" b="1" i="1" dirty="0"/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16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15363" name="Rectangle 15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de-DE" sz="2200" b="1">
                <a:solidFill>
                  <a:schemeClr val="accent1"/>
                </a:solidFill>
              </a:rPr>
              <a:t>Identificación de los Riesgos</a:t>
            </a:r>
          </a:p>
        </p:txBody>
      </p:sp>
      <p:graphicFrame>
        <p:nvGraphicFramePr>
          <p:cNvPr id="7" name="6 Tabla"/>
          <p:cNvGraphicFramePr>
            <a:graphicFrameLocks noGrp="1"/>
          </p:cNvGraphicFramePr>
          <p:nvPr/>
        </p:nvGraphicFramePr>
        <p:xfrm>
          <a:off x="307975" y="2681288"/>
          <a:ext cx="4410075" cy="3016250"/>
        </p:xfrm>
        <a:graphic>
          <a:graphicData uri="http://schemas.openxmlformats.org/drawingml/2006/table">
            <a:tbl>
              <a:tblPr/>
              <a:tblGrid>
                <a:gridCol w="688331"/>
                <a:gridCol w="488748"/>
                <a:gridCol w="3233167"/>
              </a:tblGrid>
              <a:tr h="231754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 dirty="0" smtClean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Nivel </a:t>
                      </a:r>
                      <a:r>
                        <a:rPr lang="es-ES" sz="12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de Impacto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23203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Impacto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Valor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Definición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406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Muy alto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50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Información sensible para la imagen pública de la organización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96101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Alto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40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Información no tan sensible para la imagen pública y la puede manejar el personal autorizado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406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Medio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30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Información manejada por personal interno de la empresa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406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Bajo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20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Información de la empresa que es manejada por personas externas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406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Muy bajo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10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Información manejada por los clientes que no afecta mucho a la imagen de la empresa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5396" name="Rectangle 15"/>
          <p:cNvSpPr>
            <a:spLocks noChangeArrowheads="1"/>
          </p:cNvSpPr>
          <p:nvPr/>
        </p:nvSpPr>
        <p:spPr bwMode="auto">
          <a:xfrm>
            <a:off x="323850" y="2063750"/>
            <a:ext cx="4391025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es-ES" b="1">
                <a:solidFill>
                  <a:schemeClr val="accent1"/>
                </a:solidFill>
              </a:rPr>
              <a:t>Análisis de Riesgo-Impacto</a:t>
            </a:r>
            <a:endParaRPr lang="de-DE" b="1">
              <a:solidFill>
                <a:schemeClr val="accent1"/>
              </a:solidFill>
            </a:endParaRPr>
          </a:p>
        </p:txBody>
      </p:sp>
      <p:graphicFrame>
        <p:nvGraphicFramePr>
          <p:cNvPr id="10" name="9 Tabla"/>
          <p:cNvGraphicFramePr>
            <a:graphicFrameLocks noGrp="1"/>
          </p:cNvGraphicFramePr>
          <p:nvPr/>
        </p:nvGraphicFramePr>
        <p:xfrm>
          <a:off x="4899025" y="2681288"/>
          <a:ext cx="3944938" cy="3021012"/>
        </p:xfrm>
        <a:graphic>
          <a:graphicData uri="http://schemas.openxmlformats.org/drawingml/2006/table">
            <a:tbl>
              <a:tblPr/>
              <a:tblGrid>
                <a:gridCol w="898084"/>
                <a:gridCol w="485589"/>
                <a:gridCol w="2560531"/>
              </a:tblGrid>
              <a:tr h="286561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Nivel de Ocurrencia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286561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Ocurrencia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Valor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Definición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561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Muy alto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1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Puede suceder cada mes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3121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Alto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0,8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Puede suceder cada 3 o 2 meses en la organización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3121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Medio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0,6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Puede suceder cada 5 meses en la organización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3121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Bajo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0,4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Puede suceder cada 8 meses en la organización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258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Muy bajo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0,2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Puede suceder cada año en la organización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5429" name="Rectangle 15"/>
          <p:cNvSpPr>
            <a:spLocks noChangeArrowheads="1"/>
          </p:cNvSpPr>
          <p:nvPr/>
        </p:nvSpPr>
        <p:spPr bwMode="auto">
          <a:xfrm>
            <a:off x="4879975" y="2133600"/>
            <a:ext cx="3932238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es-ES" b="1">
                <a:solidFill>
                  <a:schemeClr val="accent1"/>
                </a:solidFill>
              </a:rPr>
              <a:t>Análisis de Riesgo-Frecuencia</a:t>
            </a:r>
            <a:endParaRPr lang="de-DE" b="1">
              <a:solidFill>
                <a:schemeClr val="accent1"/>
              </a:solidFill>
            </a:endParaRPr>
          </a:p>
        </p:txBody>
      </p:sp>
      <p:sp>
        <p:nvSpPr>
          <p:cNvPr id="9" name="3 Marcador de pie de página"/>
          <p:cNvSpPr txBox="1">
            <a:spLocks/>
          </p:cNvSpPr>
          <p:nvPr/>
        </p:nvSpPr>
        <p:spPr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de-DE" sz="1200" b="1" i="1" dirty="0"/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16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16387" name="Rectangle 12"/>
          <p:cNvSpPr>
            <a:spLocks noChangeArrowheads="1"/>
          </p:cNvSpPr>
          <p:nvPr/>
        </p:nvSpPr>
        <p:spPr bwMode="auto">
          <a:xfrm>
            <a:off x="314325" y="1679575"/>
            <a:ext cx="842010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endParaRPr lang="es-ES" sz="1600"/>
          </a:p>
        </p:txBody>
      </p:sp>
      <p:sp>
        <p:nvSpPr>
          <p:cNvPr id="16388" name="Rectangle 15"/>
          <p:cNvSpPr>
            <a:spLocks noChangeArrowheads="1"/>
          </p:cNvSpPr>
          <p:nvPr/>
        </p:nvSpPr>
        <p:spPr bwMode="auto">
          <a:xfrm>
            <a:off x="312738" y="24907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endParaRPr lang="es-ES" b="1">
              <a:solidFill>
                <a:schemeClr val="accent1"/>
              </a:solidFill>
            </a:endParaRPr>
          </a:p>
        </p:txBody>
      </p:sp>
      <p:graphicFrame>
        <p:nvGraphicFramePr>
          <p:cNvPr id="10" name="9 Tabla"/>
          <p:cNvGraphicFramePr>
            <a:graphicFrameLocks noGrp="1"/>
          </p:cNvGraphicFramePr>
          <p:nvPr/>
        </p:nvGraphicFramePr>
        <p:xfrm>
          <a:off x="523875" y="2063750"/>
          <a:ext cx="4402138" cy="3630613"/>
        </p:xfrm>
        <a:graphic>
          <a:graphicData uri="http://schemas.openxmlformats.org/drawingml/2006/table">
            <a:tbl>
              <a:tblPr/>
              <a:tblGrid>
                <a:gridCol w="361950"/>
                <a:gridCol w="4039870"/>
              </a:tblGrid>
              <a:tr h="21399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No.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Controles Existentes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242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1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Diseños de revistas, prendas y fichas son revisados por la G. Ventas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62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2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Patronista verifica que no haya desperdicios en los cortes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908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3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Diseñadora de modas verifica la confección de muestras de prendas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875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4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Se corrigen los errores en las prendas confeccionadas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15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5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Revisión de tallas de prendas probándolas en las modelos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970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6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Jefe de producción cuenta y revisa las prendas confeccionadas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052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7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Si existen pequeños desperfectos en prendas se los corrige sin necesidad de devolver toda la mercadería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448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8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Se cuentan las prendas nuevamente después de empaquetarlas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605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9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Uso de detectores de códigos de barras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859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10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Verificación de cantidad de prendas vendidas según facturas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6427" name="Rectangle 15"/>
          <p:cNvSpPr>
            <a:spLocks noChangeArrowheads="1"/>
          </p:cNvSpPr>
          <p:nvPr/>
        </p:nvSpPr>
        <p:spPr bwMode="auto">
          <a:xfrm>
            <a:off x="538163" y="1465263"/>
            <a:ext cx="3154362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es-ES" b="1">
                <a:solidFill>
                  <a:schemeClr val="accent1"/>
                </a:solidFill>
              </a:rPr>
              <a:t>Controles Existentes</a:t>
            </a:r>
          </a:p>
        </p:txBody>
      </p:sp>
      <p:graphicFrame>
        <p:nvGraphicFramePr>
          <p:cNvPr id="12" name="11 Tabla"/>
          <p:cNvGraphicFramePr>
            <a:graphicFrameLocks noGrp="1"/>
          </p:cNvGraphicFramePr>
          <p:nvPr/>
        </p:nvGraphicFramePr>
        <p:xfrm>
          <a:off x="5427663" y="2257425"/>
          <a:ext cx="3087687" cy="2946400"/>
        </p:xfrm>
        <a:graphic>
          <a:graphicData uri="http://schemas.openxmlformats.org/drawingml/2006/table">
            <a:tbl>
              <a:tblPr/>
              <a:tblGrid>
                <a:gridCol w="914400"/>
                <a:gridCol w="475013"/>
                <a:gridCol w="1698172"/>
              </a:tblGrid>
              <a:tr h="210956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Controles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21095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Efectividad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Valor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Definición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95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Muy alto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90%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Controla amenazas efectivamente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191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Alto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70%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Control mitiga parcialmente las amenazas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191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Medio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50%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Control no mitiga amenazas inmediatamente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191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Bajo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30%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Control escasamente mitiga amenazas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95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Muy bajo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10%</a:t>
                      </a:r>
                      <a:endParaRPr lang="es-ES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Control no cumple su función</a:t>
                      </a:r>
                      <a:endParaRPr lang="es-ES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6460" name="Rectangle 15"/>
          <p:cNvSpPr>
            <a:spLocks noChangeArrowheads="1"/>
          </p:cNvSpPr>
          <p:nvPr/>
        </p:nvSpPr>
        <p:spPr bwMode="auto">
          <a:xfrm>
            <a:off x="5416550" y="1681163"/>
            <a:ext cx="3154363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es-ES" b="1">
                <a:solidFill>
                  <a:schemeClr val="accent1"/>
                </a:solidFill>
              </a:rPr>
              <a:t>Efectividad de los Controles </a:t>
            </a:r>
          </a:p>
        </p:txBody>
      </p:sp>
      <p:sp>
        <p:nvSpPr>
          <p:cNvPr id="11" name="3 Marcador de pie de página"/>
          <p:cNvSpPr txBox="1">
            <a:spLocks/>
          </p:cNvSpPr>
          <p:nvPr/>
        </p:nvSpPr>
        <p:spPr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de-DE" sz="1200" b="1" i="1" dirty="0"/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16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17411" name="Rectangle 12"/>
          <p:cNvSpPr>
            <a:spLocks noChangeArrowheads="1"/>
          </p:cNvSpPr>
          <p:nvPr/>
        </p:nvSpPr>
        <p:spPr bwMode="auto">
          <a:xfrm>
            <a:off x="314325" y="1679575"/>
            <a:ext cx="842010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endParaRPr lang="es-ES" sz="1600"/>
          </a:p>
        </p:txBody>
      </p:sp>
      <p:sp>
        <p:nvSpPr>
          <p:cNvPr id="17412" name="Rectangle 15"/>
          <p:cNvSpPr>
            <a:spLocks noChangeArrowheads="1"/>
          </p:cNvSpPr>
          <p:nvPr/>
        </p:nvSpPr>
        <p:spPr bwMode="auto">
          <a:xfrm>
            <a:off x="312738" y="24907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endParaRPr lang="es-ES" b="1">
              <a:solidFill>
                <a:schemeClr val="accent1"/>
              </a:solidFill>
            </a:endParaRPr>
          </a:p>
        </p:txBody>
      </p:sp>
      <p:sp>
        <p:nvSpPr>
          <p:cNvPr id="17413" name="Rectangle 12"/>
          <p:cNvSpPr>
            <a:spLocks noChangeArrowheads="1"/>
          </p:cNvSpPr>
          <p:nvPr/>
        </p:nvSpPr>
        <p:spPr bwMode="auto">
          <a:xfrm>
            <a:off x="246063" y="1204913"/>
            <a:ext cx="8599487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defTabSz="801688"/>
            <a:r>
              <a:rPr lang="es-ES" b="1">
                <a:solidFill>
                  <a:schemeClr val="accent1"/>
                </a:solidFill>
              </a:rPr>
              <a:t>Análisis de los Riesgos</a:t>
            </a:r>
          </a:p>
        </p:txBody>
      </p:sp>
      <p:graphicFrame>
        <p:nvGraphicFramePr>
          <p:cNvPr id="16" name="15 Tabla"/>
          <p:cNvGraphicFramePr>
            <a:graphicFrameLocks noGrp="1"/>
          </p:cNvGraphicFramePr>
          <p:nvPr/>
        </p:nvGraphicFramePr>
        <p:xfrm>
          <a:off x="261938" y="1662113"/>
          <a:ext cx="8616950" cy="4462462"/>
        </p:xfrm>
        <a:graphic>
          <a:graphicData uri="http://schemas.openxmlformats.org/drawingml/2006/table">
            <a:tbl>
              <a:tblPr/>
              <a:tblGrid>
                <a:gridCol w="261256"/>
                <a:gridCol w="3610098"/>
                <a:gridCol w="878774"/>
                <a:gridCol w="736271"/>
                <a:gridCol w="771896"/>
                <a:gridCol w="824241"/>
                <a:gridCol w="790803"/>
                <a:gridCol w="744246"/>
              </a:tblGrid>
              <a:tr h="41278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No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RIESGOS PRESENT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Nivel Ocurrenci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Nivel Impact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everida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Controles existent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fectividad Control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esgo Residu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393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C = A X B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C - ( 1 - D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393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No tener la ropa necesaria para cubrir toda la demand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206393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Falta de políticas de stock de mercaderías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393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Personal comete errores que perjudican a la empres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   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45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Falta de misión, visión, objetivos y políticas dificultan la dirección estratégica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45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Falta de manuales de procedimientos provoca actividades ineficient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    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33045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Incompetencia o falta de productividad de los empleados/ Procesos no ágil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   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45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Costos altos por falta de telas importadas, no se abastece a tiempo de ésta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286855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Falta de control a la salida de mercadería, produciéndose hurto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   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2751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La estabilidad política o económica del país podría influenciar en los intereses de la compañí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45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Alza de tasas o impuestos por importaciones de telas desde Colombia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393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Competidores que llevan mayor tiempo en el mercad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275522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Cambios repentinos de moda que no puedan ser previsto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0456"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Accidentes de trabajo por no poseer normas de seguridad ocupacion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3 Marcador de pie de página"/>
          <p:cNvSpPr txBox="1">
            <a:spLocks/>
          </p:cNvSpPr>
          <p:nvPr/>
        </p:nvSpPr>
        <p:spPr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de-DE" sz="1200" b="1" i="1" dirty="0"/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36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18435" name="Rectangle 5"/>
          <p:cNvSpPr>
            <a:spLocks noChangeArrowheads="1"/>
          </p:cNvSpPr>
          <p:nvPr/>
        </p:nvSpPr>
        <p:spPr bwMode="auto">
          <a:xfrm>
            <a:off x="4710113" y="2419350"/>
            <a:ext cx="4124325" cy="2419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endParaRPr lang="es-ES"/>
          </a:p>
        </p:txBody>
      </p:sp>
      <p:sp>
        <p:nvSpPr>
          <p:cNvPr id="18436" name="Rectangle 8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de-DE" b="1">
                <a:solidFill>
                  <a:schemeClr val="accent1"/>
                </a:solidFill>
              </a:rPr>
              <a:t>Análisis de Riesgo</a:t>
            </a:r>
          </a:p>
        </p:txBody>
      </p:sp>
      <p:pic>
        <p:nvPicPr>
          <p:cNvPr id="18437" name="Picture 7"/>
          <p:cNvPicPr>
            <a:picLocks noChangeAspect="1" noChangeArrowheads="1"/>
          </p:cNvPicPr>
          <p:nvPr/>
        </p:nvPicPr>
        <p:blipFill>
          <a:blip r:embed="rId4"/>
          <a:srcRect l="15977" t="29047" r="25787" b="10193"/>
          <a:stretch>
            <a:fillRect/>
          </a:stretch>
        </p:blipFill>
        <p:spPr bwMode="auto">
          <a:xfrm>
            <a:off x="1939925" y="1822450"/>
            <a:ext cx="5343525" cy="417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3 Marcador de pie de página"/>
          <p:cNvSpPr txBox="1">
            <a:spLocks/>
          </p:cNvSpPr>
          <p:nvPr/>
        </p:nvSpPr>
        <p:spPr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de-DE" sz="1200" b="1" i="1" dirty="0"/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19459" name="Rectangle 3"/>
          <p:cNvSpPr>
            <a:spLocks noChangeArrowheads="1"/>
          </p:cNvSpPr>
          <p:nvPr/>
        </p:nvSpPr>
        <p:spPr bwMode="gray">
          <a:xfrm>
            <a:off x="346075" y="1911350"/>
            <a:ext cx="8488363" cy="376238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r>
              <a:rPr lang="es-ES" b="1">
                <a:solidFill>
                  <a:schemeClr val="bg1"/>
                </a:solidFill>
              </a:rPr>
              <a:t>Estrategias Debilidades-Amenazas</a:t>
            </a:r>
            <a:endParaRPr lang="es-ES">
              <a:solidFill>
                <a:schemeClr val="bg1"/>
              </a:solidFill>
            </a:endParaRPr>
          </a:p>
        </p:txBody>
      </p:sp>
      <p:sp>
        <p:nvSpPr>
          <p:cNvPr id="19460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342900" y="2398713"/>
            <a:ext cx="8480425" cy="1468437"/>
          </a:xfrm>
          <a:noFill/>
        </p:spPr>
        <p:txBody>
          <a:bodyPr/>
          <a:lstStyle/>
          <a:p>
            <a:r>
              <a:rPr lang="es-ES" sz="1600" smtClean="0"/>
              <a:t>Demanda</a:t>
            </a:r>
          </a:p>
          <a:p>
            <a:pPr eaLnBrk="1" hangingPunct="1"/>
            <a:r>
              <a:rPr lang="es-ES" sz="1600" smtClean="0"/>
              <a:t>Manuales de procedimientos</a:t>
            </a:r>
          </a:p>
          <a:p>
            <a:pPr eaLnBrk="1" hangingPunct="1"/>
            <a:r>
              <a:rPr lang="es-ES" sz="1600" smtClean="0"/>
              <a:t>Telas importadas</a:t>
            </a:r>
          </a:p>
          <a:p>
            <a:pPr eaLnBrk="1" hangingPunct="1"/>
            <a:r>
              <a:rPr lang="es-ES" sz="1600" smtClean="0"/>
              <a:t>Competidores</a:t>
            </a:r>
          </a:p>
          <a:p>
            <a:pPr eaLnBrk="1" hangingPunct="1"/>
            <a:endParaRPr lang="es-ES" sz="1600" smtClean="0"/>
          </a:p>
          <a:p>
            <a:pPr eaLnBrk="1" hangingPunct="1"/>
            <a:endParaRPr lang="en-US" sz="1600" smtClean="0"/>
          </a:p>
          <a:p>
            <a:pPr eaLnBrk="1" hangingPunct="1">
              <a:buFont typeface="Wingdings" pitchFamily="2" charset="2"/>
              <a:buNone/>
            </a:pPr>
            <a:r>
              <a:rPr lang="en-US" sz="1600" smtClean="0"/>
              <a:t> </a:t>
            </a:r>
            <a:endParaRPr lang="de-DE" sz="1600" smtClean="0"/>
          </a:p>
          <a:p>
            <a:pPr eaLnBrk="1" hangingPunct="1">
              <a:buFont typeface="Wingdings" pitchFamily="2" charset="2"/>
              <a:buNone/>
            </a:pPr>
            <a:endParaRPr lang="de-DE" sz="1600" smtClean="0"/>
          </a:p>
        </p:txBody>
      </p:sp>
      <p:sp>
        <p:nvSpPr>
          <p:cNvPr id="19461" name="Rectangle 13"/>
          <p:cNvSpPr>
            <a:spLocks noChangeArrowheads="1"/>
          </p:cNvSpPr>
          <p:nvPr/>
        </p:nvSpPr>
        <p:spPr bwMode="auto">
          <a:xfrm>
            <a:off x="323850" y="1287463"/>
            <a:ext cx="7045325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es-ES" b="1">
                <a:solidFill>
                  <a:schemeClr val="accent1"/>
                </a:solidFill>
              </a:rPr>
              <a:t>Estrategias a emplear</a:t>
            </a:r>
            <a:endParaRPr lang="de-DE" b="1">
              <a:solidFill>
                <a:schemeClr val="accent1"/>
              </a:solidFill>
            </a:endParaRPr>
          </a:p>
        </p:txBody>
      </p:sp>
      <p:sp>
        <p:nvSpPr>
          <p:cNvPr id="19462" name="Rectangle 11"/>
          <p:cNvSpPr>
            <a:spLocks noChangeArrowheads="1"/>
          </p:cNvSpPr>
          <p:nvPr/>
        </p:nvSpPr>
        <p:spPr bwMode="gray">
          <a:xfrm>
            <a:off x="327025" y="3879850"/>
            <a:ext cx="8488363" cy="376238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r>
              <a:rPr lang="es-ES" b="1">
                <a:solidFill>
                  <a:schemeClr val="bg1"/>
                </a:solidFill>
              </a:rPr>
              <a:t>Estrategias Fortalezas-Oportunidades</a:t>
            </a:r>
            <a:endParaRPr lang="es-ES">
              <a:solidFill>
                <a:schemeClr val="bg1"/>
              </a:solidFill>
            </a:endParaRPr>
          </a:p>
        </p:txBody>
      </p:sp>
      <p:sp>
        <p:nvSpPr>
          <p:cNvPr id="12" name="Rectangle 5"/>
          <p:cNvSpPr txBox="1">
            <a:spLocks noChangeArrowheads="1"/>
          </p:cNvSpPr>
          <p:nvPr/>
        </p:nvSpPr>
        <p:spPr bwMode="auto">
          <a:xfrm>
            <a:off x="285750" y="4513263"/>
            <a:ext cx="8480425" cy="146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dirty="0"/>
              <a:t>Diseños modernos</a:t>
            </a:r>
          </a:p>
          <a:p>
            <a:pPr marL="190500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dirty="0"/>
              <a:t>Líneas de productos </a:t>
            </a:r>
          </a:p>
          <a:p>
            <a:pPr marL="190500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dirty="0"/>
              <a:t>Internet</a:t>
            </a:r>
          </a:p>
          <a:p>
            <a:pPr marL="190500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dirty="0"/>
              <a:t>Calidad</a:t>
            </a:r>
            <a:endParaRPr lang="es-ES" sz="1600" kern="0" dirty="0">
              <a:latin typeface="+mn-lt"/>
            </a:endParaRPr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n-US" sz="1600" kern="0" dirty="0">
              <a:latin typeface="+mn-lt"/>
            </a:endParaRPr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None/>
              <a:defRPr/>
            </a:pPr>
            <a:r>
              <a:rPr lang="en-US" sz="1600" kern="0" dirty="0">
                <a:latin typeface="+mn-lt"/>
              </a:rPr>
              <a:t> </a:t>
            </a:r>
            <a:endParaRPr lang="de-DE" sz="1600" kern="0" dirty="0">
              <a:latin typeface="+mn-lt"/>
            </a:endParaRPr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None/>
              <a:defRPr/>
            </a:pPr>
            <a:endParaRPr lang="de-DE" sz="1600" kern="0" dirty="0">
              <a:latin typeface="+mn-lt"/>
            </a:endParaRPr>
          </a:p>
        </p:txBody>
      </p:sp>
      <p:sp>
        <p:nvSpPr>
          <p:cNvPr id="10" name="3 Marcador de pie de página"/>
          <p:cNvSpPr txBox="1">
            <a:spLocks/>
          </p:cNvSpPr>
          <p:nvPr/>
        </p:nvSpPr>
        <p:spPr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de-DE" sz="1200" b="1" i="1" dirty="0"/>
              <a:t>Ing. Auditoría y Contaduría Pública Autorizada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20483" name="Rectangle 3"/>
          <p:cNvSpPr>
            <a:spLocks noChangeArrowheads="1"/>
          </p:cNvSpPr>
          <p:nvPr/>
        </p:nvSpPr>
        <p:spPr bwMode="gray">
          <a:xfrm>
            <a:off x="346075" y="1911350"/>
            <a:ext cx="8488363" cy="376238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r>
              <a:rPr lang="es-ES" b="1">
                <a:solidFill>
                  <a:schemeClr val="bg1"/>
                </a:solidFill>
              </a:rPr>
              <a:t>Estrategias Fortalezas-Amenazas</a:t>
            </a:r>
            <a:endParaRPr lang="es-ES">
              <a:solidFill>
                <a:schemeClr val="bg1"/>
              </a:solidFill>
            </a:endParaRPr>
          </a:p>
        </p:txBody>
      </p:sp>
      <p:sp>
        <p:nvSpPr>
          <p:cNvPr id="20484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342900" y="2398713"/>
            <a:ext cx="8480425" cy="1468437"/>
          </a:xfrm>
          <a:noFill/>
        </p:spPr>
        <p:txBody>
          <a:bodyPr/>
          <a:lstStyle/>
          <a:p>
            <a:r>
              <a:rPr lang="es-ES" sz="1600" smtClean="0"/>
              <a:t>Anuncios o avisos</a:t>
            </a:r>
          </a:p>
          <a:p>
            <a:r>
              <a:rPr lang="es-ES" sz="1600" smtClean="0"/>
              <a:t>Prendas únicas</a:t>
            </a:r>
          </a:p>
          <a:p>
            <a:r>
              <a:rPr lang="es-ES" sz="1600" smtClean="0"/>
              <a:t>Demanda</a:t>
            </a:r>
          </a:p>
          <a:p>
            <a:pPr eaLnBrk="1" hangingPunct="1"/>
            <a:r>
              <a:rPr lang="es-ES" sz="1600" smtClean="0"/>
              <a:t>Importación</a:t>
            </a:r>
            <a:endParaRPr lang="en-US" sz="1600" smtClean="0"/>
          </a:p>
          <a:p>
            <a:pPr eaLnBrk="1" hangingPunct="1">
              <a:buFont typeface="Wingdings" pitchFamily="2" charset="2"/>
              <a:buNone/>
            </a:pPr>
            <a:r>
              <a:rPr lang="en-US" sz="1600" smtClean="0"/>
              <a:t> </a:t>
            </a:r>
            <a:endParaRPr lang="de-DE" sz="1600" smtClean="0"/>
          </a:p>
          <a:p>
            <a:pPr eaLnBrk="1" hangingPunct="1">
              <a:buFont typeface="Wingdings" pitchFamily="2" charset="2"/>
              <a:buNone/>
            </a:pPr>
            <a:endParaRPr lang="de-DE" sz="1600" smtClean="0"/>
          </a:p>
        </p:txBody>
      </p:sp>
      <p:sp>
        <p:nvSpPr>
          <p:cNvPr id="20485" name="Rectangle 13"/>
          <p:cNvSpPr>
            <a:spLocks noChangeArrowheads="1"/>
          </p:cNvSpPr>
          <p:nvPr/>
        </p:nvSpPr>
        <p:spPr bwMode="auto">
          <a:xfrm>
            <a:off x="323850" y="1287463"/>
            <a:ext cx="7045325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es-ES" b="1">
                <a:solidFill>
                  <a:schemeClr val="accent1"/>
                </a:solidFill>
              </a:rPr>
              <a:t>Estrategias a emplear</a:t>
            </a:r>
            <a:endParaRPr lang="de-DE" b="1">
              <a:solidFill>
                <a:schemeClr val="accent1"/>
              </a:solidFill>
            </a:endParaRPr>
          </a:p>
        </p:txBody>
      </p:sp>
      <p:sp>
        <p:nvSpPr>
          <p:cNvPr id="20486" name="Rectangle 11"/>
          <p:cNvSpPr>
            <a:spLocks noChangeArrowheads="1"/>
          </p:cNvSpPr>
          <p:nvPr/>
        </p:nvSpPr>
        <p:spPr bwMode="gray">
          <a:xfrm>
            <a:off x="336550" y="4070350"/>
            <a:ext cx="8488363" cy="376238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r>
              <a:rPr lang="es-ES" b="1">
                <a:solidFill>
                  <a:schemeClr val="bg1"/>
                </a:solidFill>
              </a:rPr>
              <a:t>Estrategias Debilidades-Oportunidades</a:t>
            </a:r>
            <a:endParaRPr lang="es-ES">
              <a:solidFill>
                <a:schemeClr val="bg1"/>
              </a:solidFill>
            </a:endParaRPr>
          </a:p>
        </p:txBody>
      </p:sp>
      <p:sp>
        <p:nvSpPr>
          <p:cNvPr id="12" name="Rectangle 5"/>
          <p:cNvSpPr txBox="1">
            <a:spLocks noChangeArrowheads="1"/>
          </p:cNvSpPr>
          <p:nvPr/>
        </p:nvSpPr>
        <p:spPr bwMode="auto">
          <a:xfrm>
            <a:off x="285750" y="4600575"/>
            <a:ext cx="8480425" cy="138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dirty="0"/>
              <a:t>Costos</a:t>
            </a:r>
          </a:p>
          <a:p>
            <a:pPr marL="190500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dirty="0"/>
              <a:t>Pedidos </a:t>
            </a:r>
          </a:p>
          <a:p>
            <a:pPr marL="190500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dirty="0"/>
              <a:t>Objetivos empresariales</a:t>
            </a:r>
            <a:endParaRPr lang="de-DE" sz="1600" kern="0" dirty="0">
              <a:latin typeface="+mn-lt"/>
            </a:endParaRPr>
          </a:p>
        </p:txBody>
      </p:sp>
      <p:sp>
        <p:nvSpPr>
          <p:cNvPr id="10" name="3 Marcador de pie de página"/>
          <p:cNvSpPr txBox="1">
            <a:spLocks/>
          </p:cNvSpPr>
          <p:nvPr/>
        </p:nvSpPr>
        <p:spPr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de-DE" sz="1200" b="1" i="1" dirty="0"/>
              <a:t>Ing. Auditoría y Contaduría Pública Autorizada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7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21507" name="Rectangle 6"/>
          <p:cNvSpPr>
            <a:spLocks noChangeArrowheads="1"/>
          </p:cNvSpPr>
          <p:nvPr/>
        </p:nvSpPr>
        <p:spPr bwMode="auto">
          <a:xfrm>
            <a:off x="368300" y="2398713"/>
            <a:ext cx="4135438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>
                <a:latin typeface="+mn-lt"/>
              </a:rPr>
              <a:t>Identificación de elementos del área</a:t>
            </a:r>
          </a:p>
          <a:p>
            <a:pPr algn="just">
              <a:defRPr/>
            </a:pPr>
            <a:r>
              <a:rPr lang="es-ES" sz="1600" b="1" dirty="0"/>
              <a:t> </a:t>
            </a:r>
            <a:endParaRPr lang="es-ES" sz="1600" dirty="0"/>
          </a:p>
        </p:txBody>
      </p:sp>
      <p:sp>
        <p:nvSpPr>
          <p:cNvPr id="21508" name="Rectangle 11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s-ES" b="1"/>
              <a:t>Implementación 5 S</a:t>
            </a:r>
          </a:p>
        </p:txBody>
      </p:sp>
      <p:sp>
        <p:nvSpPr>
          <p:cNvPr id="21509" name="Rectangle 3"/>
          <p:cNvSpPr>
            <a:spLocks noChangeArrowheads="1"/>
          </p:cNvSpPr>
          <p:nvPr/>
        </p:nvSpPr>
        <p:spPr bwMode="gray">
          <a:xfrm>
            <a:off x="346075" y="1911350"/>
            <a:ext cx="8488363" cy="376238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r>
              <a:rPr lang="es-ES" b="1">
                <a:solidFill>
                  <a:schemeClr val="bg1"/>
                </a:solidFill>
              </a:rPr>
              <a:t>Seiri CLASIFICACIÓN</a:t>
            </a:r>
          </a:p>
        </p:txBody>
      </p:sp>
      <p:graphicFrame>
        <p:nvGraphicFramePr>
          <p:cNvPr id="10" name="9 Tabla"/>
          <p:cNvGraphicFramePr>
            <a:graphicFrameLocks noGrp="1"/>
          </p:cNvGraphicFramePr>
          <p:nvPr/>
        </p:nvGraphicFramePr>
        <p:xfrm>
          <a:off x="355600" y="2882900"/>
          <a:ext cx="4187825" cy="3705225"/>
        </p:xfrm>
        <a:graphic>
          <a:graphicData uri="http://schemas.openxmlformats.org/drawingml/2006/table">
            <a:tbl>
              <a:tblPr/>
              <a:tblGrid>
                <a:gridCol w="1895622"/>
                <a:gridCol w="1487606"/>
                <a:gridCol w="805217"/>
              </a:tblGrid>
              <a:tr h="34099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 dirty="0">
                          <a:latin typeface="Arial"/>
                          <a:ea typeface="Arial Unicode MS"/>
                          <a:cs typeface="Times New Roman"/>
                        </a:rPr>
                        <a:t>Elementos encontrados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>
                          <a:latin typeface="Arial"/>
                          <a:ea typeface="Arial Unicode MS"/>
                          <a:cs typeface="Times New Roman"/>
                        </a:rPr>
                        <a:t>Frecuencia de uso</a:t>
                      </a:r>
                      <a:endParaRPr lang="es-ES" sz="12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>
                          <a:latin typeface="Arial"/>
                          <a:ea typeface="Arial Unicode MS"/>
                          <a:cs typeface="Times New Roman"/>
                        </a:rPr>
                        <a:t>Cantidad</a:t>
                      </a:r>
                      <a:endParaRPr lang="es-ES" sz="12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Computadora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Herramienta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Impresora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Tela en rollo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Archivador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Escoba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Aspiradora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Prendas de ropa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Anaquel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Escritorio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Silla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Mesa (para cortar tela)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Servidor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Retazos de tela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Periódico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Saco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Diario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Diario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Diario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Diario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Diario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Ocasional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Ocasional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Ocasional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Diario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Diario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Diario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Diario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Diario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Ocasional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No se usa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No se usa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2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12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1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50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0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1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1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67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5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4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6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1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1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90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20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8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3 Marcador de pie de página"/>
          <p:cNvSpPr txBox="1">
            <a:spLocks/>
          </p:cNvSpPr>
          <p:nvPr/>
        </p:nvSpPr>
        <p:spPr bwMode="auto"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r>
              <a:rPr lang="de-DE" sz="1200" b="1" i="1">
                <a:solidFill>
                  <a:schemeClr val="tx2"/>
                </a:solidFill>
              </a:rPr>
              <a:t>Ing. Auditoría y Contaduría Pública Autorizada</a:t>
            </a:r>
            <a:endParaRPr lang="de-DE" sz="1200" b="1" i="1" dirty="0">
              <a:solidFill>
                <a:schemeClr val="tx2"/>
              </a:solidFill>
            </a:endParaRPr>
          </a:p>
        </p:txBody>
      </p:sp>
      <p:sp>
        <p:nvSpPr>
          <p:cNvPr id="21525" name="Rectangle 6"/>
          <p:cNvSpPr>
            <a:spLocks noChangeArrowheads="1"/>
          </p:cNvSpPr>
          <p:nvPr/>
        </p:nvSpPr>
        <p:spPr bwMode="auto">
          <a:xfrm>
            <a:off x="5322888" y="2416175"/>
            <a:ext cx="3275012" cy="341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 algn="ctr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>
                <a:latin typeface="+mn-lt"/>
              </a:rPr>
              <a:t>Listado de elementos innecesarios</a:t>
            </a:r>
          </a:p>
          <a:p>
            <a:pPr algn="ctr">
              <a:defRPr/>
            </a:pPr>
            <a:endParaRPr lang="es-ES" sz="1600" dirty="0"/>
          </a:p>
        </p:txBody>
      </p:sp>
      <p:graphicFrame>
        <p:nvGraphicFramePr>
          <p:cNvPr id="12" name="11 Tabla"/>
          <p:cNvGraphicFramePr>
            <a:graphicFrameLocks noGrp="1"/>
          </p:cNvGraphicFramePr>
          <p:nvPr/>
        </p:nvGraphicFramePr>
        <p:xfrm>
          <a:off x="5308600" y="3152775"/>
          <a:ext cx="3370263" cy="2051050"/>
        </p:xfrm>
        <a:graphic>
          <a:graphicData uri="http://schemas.openxmlformats.org/drawingml/2006/table">
            <a:tbl>
              <a:tblPr/>
              <a:tblGrid>
                <a:gridCol w="1419368"/>
                <a:gridCol w="1064525"/>
                <a:gridCol w="887104"/>
              </a:tblGrid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b="1" dirty="0">
                          <a:latin typeface="Arial"/>
                          <a:ea typeface="Arial Unicode MS"/>
                          <a:cs typeface="Times New Roman"/>
                        </a:rPr>
                        <a:t>Elementos Innecesarios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b="1" dirty="0">
                          <a:latin typeface="Arial"/>
                          <a:ea typeface="Arial Unicode MS"/>
                          <a:cs typeface="Times New Roman"/>
                        </a:rPr>
                        <a:t>Frecuencia de uso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b="1">
                          <a:latin typeface="Arial"/>
                          <a:ea typeface="Arial Unicode MS"/>
                          <a:cs typeface="Times New Roman"/>
                        </a:rPr>
                        <a:t>Cantidad</a:t>
                      </a:r>
                      <a:endParaRPr lang="es-ES" sz="13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Escobas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Aspiradora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Prendas de ropa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Servidor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Retazos de tela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Periódicos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Sacos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Ocasional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Ocasional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Ocasional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Diario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Ocasional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No se usa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No se usa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1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1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67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1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90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20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8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7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22531" name="Rectangle 6"/>
          <p:cNvSpPr>
            <a:spLocks noChangeArrowheads="1"/>
          </p:cNvSpPr>
          <p:nvPr/>
        </p:nvSpPr>
        <p:spPr bwMode="auto">
          <a:xfrm>
            <a:off x="2392363" y="2343150"/>
            <a:ext cx="4391025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 algn="ctr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>
                <a:latin typeface="+mn-lt"/>
              </a:rPr>
              <a:t>Tarjeta de color identificadora</a:t>
            </a:r>
          </a:p>
        </p:txBody>
      </p:sp>
      <p:sp>
        <p:nvSpPr>
          <p:cNvPr id="22532" name="Rectangle 11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s-ES" b="1"/>
              <a:t>Implementación 5 S</a:t>
            </a:r>
          </a:p>
        </p:txBody>
      </p:sp>
      <p:sp>
        <p:nvSpPr>
          <p:cNvPr id="22533" name="Rectangle 3"/>
          <p:cNvSpPr>
            <a:spLocks noChangeArrowheads="1"/>
          </p:cNvSpPr>
          <p:nvPr/>
        </p:nvSpPr>
        <p:spPr bwMode="gray">
          <a:xfrm>
            <a:off x="346075" y="1911350"/>
            <a:ext cx="8488363" cy="376238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r>
              <a:rPr lang="es-ES" b="1">
                <a:solidFill>
                  <a:schemeClr val="bg1"/>
                </a:solidFill>
              </a:rPr>
              <a:t>Seiri CLASIFICACIÓN</a:t>
            </a:r>
          </a:p>
        </p:txBody>
      </p:sp>
      <p:pic>
        <p:nvPicPr>
          <p:cNvPr id="22534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724150" y="2754313"/>
            <a:ext cx="3784600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3 Marcador de pie de página"/>
          <p:cNvSpPr txBox="1">
            <a:spLocks/>
          </p:cNvSpPr>
          <p:nvPr/>
        </p:nvSpPr>
        <p:spPr bwMode="auto"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r>
              <a:rPr lang="de-DE" sz="1200" b="1" i="1" dirty="0">
                <a:solidFill>
                  <a:schemeClr val="tx2"/>
                </a:solidFill>
              </a:rPr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7561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s-EC" dirty="0" smtClean="0"/>
              <a:t>Tema Propuesto</a:t>
            </a:r>
            <a:endParaRPr lang="es-EC" dirty="0"/>
          </a:p>
        </p:txBody>
      </p:sp>
      <p:sp>
        <p:nvSpPr>
          <p:cNvPr id="6147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319088" y="1609725"/>
            <a:ext cx="8515350" cy="4545013"/>
          </a:xfrm>
        </p:spPr>
        <p:txBody>
          <a:bodyPr/>
          <a:lstStyle/>
          <a:p>
            <a:pPr algn="just"/>
            <a:endParaRPr lang="es-ES" sz="1800" smtClean="0"/>
          </a:p>
          <a:p>
            <a:pPr algn="just"/>
            <a:r>
              <a:rPr lang="es-ES" sz="1800" smtClean="0"/>
              <a:t>Incremento de nuevas empresas </a:t>
            </a:r>
          </a:p>
          <a:p>
            <a:pPr algn="just"/>
            <a:r>
              <a:rPr lang="es-ES" sz="1800" smtClean="0"/>
              <a:t>Falta de un sistema de gestión</a:t>
            </a:r>
          </a:p>
          <a:p>
            <a:pPr algn="just"/>
            <a:endParaRPr lang="es-ES" sz="1800" smtClean="0"/>
          </a:p>
          <a:p>
            <a:pPr algn="just"/>
            <a:endParaRPr lang="es-ES" sz="1800" smtClean="0"/>
          </a:p>
          <a:p>
            <a:pPr algn="just">
              <a:buFont typeface="Wingdings" pitchFamily="2" charset="2"/>
              <a:buNone/>
            </a:pPr>
            <a:r>
              <a:rPr lang="es-ES" sz="1800" b="1" smtClean="0">
                <a:solidFill>
                  <a:schemeClr val="accent1"/>
                </a:solidFill>
              </a:rPr>
              <a:t>Justificación</a:t>
            </a:r>
            <a:r>
              <a:rPr lang="es-ES" smtClean="0"/>
              <a:t> </a:t>
            </a:r>
            <a:r>
              <a:rPr lang="es-ES" sz="1800" b="1" smtClean="0">
                <a:solidFill>
                  <a:schemeClr val="accent1"/>
                </a:solidFill>
              </a:rPr>
              <a:t>del Problema</a:t>
            </a:r>
          </a:p>
          <a:p>
            <a:pPr algn="just">
              <a:buFont typeface="Wingdings" pitchFamily="2" charset="2"/>
              <a:buNone/>
            </a:pPr>
            <a:endParaRPr lang="de-DE" sz="1800" b="1" smtClean="0">
              <a:solidFill>
                <a:schemeClr val="accent1"/>
              </a:solidFill>
            </a:endParaRPr>
          </a:p>
          <a:p>
            <a:pPr algn="just"/>
            <a:r>
              <a:rPr lang="es-ES" sz="1800" smtClean="0"/>
              <a:t>Objetivos empresariales</a:t>
            </a:r>
            <a:endParaRPr lang="es-ES" sz="800" smtClean="0"/>
          </a:p>
          <a:p>
            <a:pPr algn="just"/>
            <a:r>
              <a:rPr lang="es-ES" sz="1800" smtClean="0"/>
              <a:t>Sistema de Gestión</a:t>
            </a:r>
          </a:p>
        </p:txBody>
      </p:sp>
      <p:sp>
        <p:nvSpPr>
          <p:cNvPr id="6148" name="Rectangle 4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es-ES" b="1">
                <a:solidFill>
                  <a:schemeClr val="accent1"/>
                </a:solidFill>
              </a:rPr>
              <a:t>Planteamiento</a:t>
            </a:r>
            <a:r>
              <a:rPr lang="es-ES" sz="2000"/>
              <a:t> </a:t>
            </a:r>
            <a:r>
              <a:rPr lang="es-ES" b="1">
                <a:solidFill>
                  <a:schemeClr val="accent1"/>
                </a:solidFill>
              </a:rPr>
              <a:t>del Problema</a:t>
            </a:r>
            <a:endParaRPr lang="de-DE" b="1">
              <a:solidFill>
                <a:schemeClr val="accent1"/>
              </a:solidFill>
            </a:endParaRPr>
          </a:p>
        </p:txBody>
      </p:sp>
      <p:sp>
        <p:nvSpPr>
          <p:cNvPr id="6" name="3 Marcador de pie de página"/>
          <p:cNvSpPr txBox="1">
            <a:spLocks/>
          </p:cNvSpPr>
          <p:nvPr/>
        </p:nvSpPr>
        <p:spPr bwMode="auto"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r>
              <a:rPr lang="de-DE" sz="1200" b="1" i="1" dirty="0">
                <a:solidFill>
                  <a:schemeClr val="tx2"/>
                </a:solidFill>
              </a:rPr>
              <a:t>Ing. Auditoría y Contaduría Pública Autorizada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7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23556" name="Rectangle 6"/>
          <p:cNvSpPr>
            <a:spLocks noChangeArrowheads="1"/>
          </p:cNvSpPr>
          <p:nvPr/>
        </p:nvSpPr>
        <p:spPr bwMode="auto">
          <a:xfrm>
            <a:off x="468313" y="2333625"/>
            <a:ext cx="3046412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>
                <a:latin typeface="+mn-lt"/>
              </a:rPr>
              <a:t>Plan de acción para retiro de elementos </a:t>
            </a:r>
          </a:p>
          <a:p>
            <a:pPr>
              <a:defRPr/>
            </a:pPr>
            <a:endParaRPr lang="es-ES" sz="1400" dirty="0"/>
          </a:p>
        </p:txBody>
      </p:sp>
      <p:sp>
        <p:nvSpPr>
          <p:cNvPr id="2" name="Rectangle 11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s-ES" b="1"/>
              <a:t>Implementación 5 S</a:t>
            </a:r>
          </a:p>
        </p:txBody>
      </p:sp>
      <p:sp>
        <p:nvSpPr>
          <p:cNvPr id="23557" name="Rectangle 3"/>
          <p:cNvSpPr>
            <a:spLocks noChangeArrowheads="1"/>
          </p:cNvSpPr>
          <p:nvPr/>
        </p:nvSpPr>
        <p:spPr bwMode="gray">
          <a:xfrm>
            <a:off x="346075" y="1911350"/>
            <a:ext cx="8488363" cy="376238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r>
              <a:rPr lang="es-ES" b="1">
                <a:solidFill>
                  <a:schemeClr val="bg1"/>
                </a:solidFill>
              </a:rPr>
              <a:t>Seiri CLASIFICACIÓN</a:t>
            </a:r>
          </a:p>
        </p:txBody>
      </p:sp>
      <p:graphicFrame>
        <p:nvGraphicFramePr>
          <p:cNvPr id="8" name="7 Tabla"/>
          <p:cNvGraphicFramePr>
            <a:graphicFrameLocks noGrp="1"/>
          </p:cNvGraphicFramePr>
          <p:nvPr/>
        </p:nvGraphicFramePr>
        <p:xfrm>
          <a:off x="515938" y="3024188"/>
          <a:ext cx="3046412" cy="2051050"/>
        </p:xfrm>
        <a:graphic>
          <a:graphicData uri="http://schemas.openxmlformats.org/drawingml/2006/table">
            <a:tbl>
              <a:tblPr/>
              <a:tblGrid>
                <a:gridCol w="1367572"/>
                <a:gridCol w="791570"/>
                <a:gridCol w="887105"/>
              </a:tblGrid>
              <a:tr h="21231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b="1" dirty="0">
                          <a:latin typeface="Arial"/>
                          <a:ea typeface="Arial Unicode MS"/>
                          <a:cs typeface="Times New Roman"/>
                        </a:rPr>
                        <a:t>Elementos innecesarios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b="1" dirty="0">
                          <a:latin typeface="Arial"/>
                          <a:ea typeface="Arial Unicode MS"/>
                          <a:cs typeface="Times New Roman"/>
                        </a:rPr>
                        <a:t>Eliminar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b="1">
                          <a:latin typeface="Arial"/>
                          <a:ea typeface="Arial Unicode MS"/>
                          <a:cs typeface="Times New Roman"/>
                        </a:rPr>
                        <a:t>Reubicar</a:t>
                      </a:r>
                      <a:endParaRPr lang="es-ES" sz="13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8618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Escobas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Aspiradora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Prendas de ropa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Servidor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Retazos de tela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Periódicos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Sacos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s-ES" sz="1300" dirty="0">
                        <a:latin typeface="Arial"/>
                        <a:ea typeface="Arial Unicode MS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s-ES" sz="1300" dirty="0" smtClean="0">
                        <a:latin typeface="Arial"/>
                        <a:ea typeface="Arial Unicode MS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s-ES" sz="1300" dirty="0" smtClean="0">
                        <a:latin typeface="Arial"/>
                        <a:ea typeface="Arial Unicode MS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s-ES" sz="1300" dirty="0" smtClean="0">
                        <a:latin typeface="Arial"/>
                        <a:ea typeface="Arial Unicode MS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 smtClean="0">
                          <a:latin typeface="Arial"/>
                          <a:ea typeface="Arial Unicode MS"/>
                          <a:cs typeface="Times New Roman"/>
                        </a:rPr>
                        <a:t>X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X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X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X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X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X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300" dirty="0">
                          <a:latin typeface="Arial"/>
                          <a:ea typeface="Arial Unicode MS"/>
                          <a:cs typeface="Times New Roman"/>
                        </a:rPr>
                        <a:t>X</a:t>
                      </a:r>
                      <a:endParaRPr lang="es-ES" sz="13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3572" name="Picture 1"/>
          <p:cNvPicPr>
            <a:picLocks noChangeAspect="1" noChangeArrowheads="1"/>
          </p:cNvPicPr>
          <p:nvPr/>
        </p:nvPicPr>
        <p:blipFill>
          <a:blip r:embed="rId4"/>
          <a:srcRect l="9314" t="2890" r="10083" b="13503"/>
          <a:stretch>
            <a:fillRect/>
          </a:stretch>
        </p:blipFill>
        <p:spPr bwMode="auto">
          <a:xfrm rot="5400000">
            <a:off x="4468813" y="1616075"/>
            <a:ext cx="4025900" cy="467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3 Marcador de pie de página"/>
          <p:cNvSpPr txBox="1">
            <a:spLocks/>
          </p:cNvSpPr>
          <p:nvPr/>
        </p:nvSpPr>
        <p:spPr bwMode="auto"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r>
              <a:rPr lang="de-DE" sz="1200" b="1" i="1" dirty="0">
                <a:solidFill>
                  <a:schemeClr val="tx2"/>
                </a:solidFill>
              </a:rPr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7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24580" name="Rectangle 6"/>
          <p:cNvSpPr>
            <a:spLocks noChangeArrowheads="1"/>
          </p:cNvSpPr>
          <p:nvPr/>
        </p:nvSpPr>
        <p:spPr bwMode="auto">
          <a:xfrm>
            <a:off x="482600" y="2773363"/>
            <a:ext cx="3332163" cy="219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>
                <a:latin typeface="+mn-lt"/>
              </a:rPr>
              <a:t>Orden y Estandarización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ES" sz="1400" b="1" dirty="0"/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>
                <a:latin typeface="+mn-lt"/>
              </a:rPr>
              <a:t>Control visual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ES" sz="1600" b="1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>
                <a:latin typeface="+mn-lt"/>
              </a:rPr>
              <a:t>Mapa de las 5 S</a:t>
            </a:r>
          </a:p>
          <a:p>
            <a:pPr>
              <a:defRPr/>
            </a:pPr>
            <a:endParaRPr lang="es-ES" sz="1400" dirty="0"/>
          </a:p>
        </p:txBody>
      </p:sp>
      <p:sp>
        <p:nvSpPr>
          <p:cNvPr id="2" name="Rectangle 11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s-ES" b="1"/>
              <a:t>Implementación 5 S</a:t>
            </a:r>
          </a:p>
        </p:txBody>
      </p:sp>
      <p:sp>
        <p:nvSpPr>
          <p:cNvPr id="24581" name="Rectangle 3"/>
          <p:cNvSpPr>
            <a:spLocks noChangeArrowheads="1"/>
          </p:cNvSpPr>
          <p:nvPr/>
        </p:nvSpPr>
        <p:spPr bwMode="gray">
          <a:xfrm>
            <a:off x="346075" y="1911350"/>
            <a:ext cx="8488363" cy="376238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r>
              <a:rPr lang="es-ES" b="1">
                <a:solidFill>
                  <a:schemeClr val="bg1"/>
                </a:solidFill>
              </a:rPr>
              <a:t>Seiton ORDEN</a:t>
            </a:r>
          </a:p>
        </p:txBody>
      </p:sp>
      <p:pic>
        <p:nvPicPr>
          <p:cNvPr id="24582" name="Picture 2"/>
          <p:cNvPicPr>
            <a:picLocks noChangeAspect="1" noChangeArrowheads="1"/>
          </p:cNvPicPr>
          <p:nvPr/>
        </p:nvPicPr>
        <p:blipFill>
          <a:blip r:embed="rId4"/>
          <a:srcRect l="1524" t="1880" r="40218" b="40466"/>
          <a:stretch>
            <a:fillRect/>
          </a:stretch>
        </p:blipFill>
        <p:spPr bwMode="auto">
          <a:xfrm>
            <a:off x="4514850" y="558800"/>
            <a:ext cx="3676650" cy="542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3 Marcador de pie de página"/>
          <p:cNvSpPr txBox="1">
            <a:spLocks/>
          </p:cNvSpPr>
          <p:nvPr/>
        </p:nvSpPr>
        <p:spPr bwMode="auto"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r>
              <a:rPr lang="de-DE" sz="1200" b="1" i="1" dirty="0">
                <a:solidFill>
                  <a:schemeClr val="tx2"/>
                </a:solidFill>
              </a:rPr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7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25604" name="Rectangle 6"/>
          <p:cNvSpPr>
            <a:spLocks noChangeArrowheads="1"/>
          </p:cNvSpPr>
          <p:nvPr/>
        </p:nvSpPr>
        <p:spPr bwMode="auto">
          <a:xfrm>
            <a:off x="427038" y="2376488"/>
            <a:ext cx="5946775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>
                <a:latin typeface="+mn-lt"/>
              </a:rPr>
              <a:t>Marcación de la Ubicación</a:t>
            </a:r>
          </a:p>
          <a:p>
            <a:pPr algn="just">
              <a:defRPr/>
            </a:pPr>
            <a:endParaRPr lang="es-ES" sz="1400" b="1" dirty="0"/>
          </a:p>
          <a:p>
            <a:pPr algn="just">
              <a:defRPr/>
            </a:pPr>
            <a:endParaRPr lang="es-ES" sz="1400" dirty="0"/>
          </a:p>
        </p:txBody>
      </p:sp>
      <p:sp>
        <p:nvSpPr>
          <p:cNvPr id="2" name="Rectangle 11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s-ES" b="1"/>
              <a:t>Implementación 5 S</a:t>
            </a:r>
          </a:p>
        </p:txBody>
      </p:sp>
      <p:sp>
        <p:nvSpPr>
          <p:cNvPr id="25605" name="Rectangle 3"/>
          <p:cNvSpPr>
            <a:spLocks noChangeArrowheads="1"/>
          </p:cNvSpPr>
          <p:nvPr/>
        </p:nvSpPr>
        <p:spPr bwMode="gray">
          <a:xfrm>
            <a:off x="346075" y="1911350"/>
            <a:ext cx="8488363" cy="376238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r>
              <a:rPr lang="es-ES" b="1">
                <a:solidFill>
                  <a:schemeClr val="bg1"/>
                </a:solidFill>
              </a:rPr>
              <a:t>Seiton ORDEN</a:t>
            </a:r>
          </a:p>
        </p:txBody>
      </p:sp>
      <p:pic>
        <p:nvPicPr>
          <p:cNvPr id="25606" name="Picture 2"/>
          <p:cNvPicPr>
            <a:picLocks noChangeAspect="1" noChangeArrowheads="1"/>
          </p:cNvPicPr>
          <p:nvPr/>
        </p:nvPicPr>
        <p:blipFill>
          <a:blip r:embed="rId4"/>
          <a:srcRect l="5994" t="20734" r="27815" b="12750"/>
          <a:stretch>
            <a:fillRect/>
          </a:stretch>
        </p:blipFill>
        <p:spPr bwMode="auto">
          <a:xfrm>
            <a:off x="2003425" y="2716213"/>
            <a:ext cx="4956175" cy="3262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3 Marcador de pie de página"/>
          <p:cNvSpPr txBox="1">
            <a:spLocks/>
          </p:cNvSpPr>
          <p:nvPr/>
        </p:nvSpPr>
        <p:spPr bwMode="auto"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r>
              <a:rPr lang="de-DE" sz="1200" b="1" i="1" dirty="0">
                <a:solidFill>
                  <a:schemeClr val="tx2"/>
                </a:solidFill>
              </a:rPr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7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26628" name="Rectangle 6"/>
          <p:cNvSpPr>
            <a:spLocks noChangeArrowheads="1"/>
          </p:cNvSpPr>
          <p:nvPr/>
        </p:nvSpPr>
        <p:spPr bwMode="auto">
          <a:xfrm>
            <a:off x="600075" y="2352675"/>
            <a:ext cx="2819400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>
                <a:latin typeface="+mn-lt"/>
              </a:rPr>
              <a:t>Marcación y codificación con colores</a:t>
            </a:r>
          </a:p>
          <a:p>
            <a:pPr algn="just">
              <a:defRPr/>
            </a:pPr>
            <a:endParaRPr lang="es-ES" sz="1400" dirty="0"/>
          </a:p>
        </p:txBody>
      </p:sp>
      <p:sp>
        <p:nvSpPr>
          <p:cNvPr id="2" name="Rectangle 11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s-ES" b="1"/>
              <a:t>Implementación 5 S</a:t>
            </a:r>
          </a:p>
        </p:txBody>
      </p:sp>
      <p:sp>
        <p:nvSpPr>
          <p:cNvPr id="26629" name="Rectangle 3"/>
          <p:cNvSpPr>
            <a:spLocks noChangeArrowheads="1"/>
          </p:cNvSpPr>
          <p:nvPr/>
        </p:nvSpPr>
        <p:spPr bwMode="gray">
          <a:xfrm>
            <a:off x="346075" y="1911350"/>
            <a:ext cx="8488363" cy="376238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r>
              <a:rPr lang="es-ES" b="1">
                <a:solidFill>
                  <a:schemeClr val="bg1"/>
                </a:solidFill>
              </a:rPr>
              <a:t>Seiton ORDEN</a:t>
            </a:r>
          </a:p>
        </p:txBody>
      </p:sp>
      <p:graphicFrame>
        <p:nvGraphicFramePr>
          <p:cNvPr id="8" name="7 Tabla"/>
          <p:cNvGraphicFramePr>
            <a:graphicFrameLocks noGrp="1"/>
          </p:cNvGraphicFramePr>
          <p:nvPr/>
        </p:nvGraphicFramePr>
        <p:xfrm>
          <a:off x="723900" y="3275013"/>
          <a:ext cx="2816225" cy="1516062"/>
        </p:xfrm>
        <a:graphic>
          <a:graphicData uri="http://schemas.openxmlformats.org/drawingml/2006/table">
            <a:tbl>
              <a:tblPr/>
              <a:tblGrid>
                <a:gridCol w="1063648"/>
                <a:gridCol w="1751942"/>
              </a:tblGrid>
              <a:tr h="447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b="1" dirty="0">
                          <a:latin typeface="Arial"/>
                          <a:ea typeface="Arial Unicode MS"/>
                          <a:cs typeface="Times New Roman"/>
                        </a:rPr>
                        <a:t>Uso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b="1" dirty="0">
                          <a:latin typeface="Arial"/>
                          <a:ea typeface="Arial Unicode MS"/>
                          <a:cs typeface="Times New Roman"/>
                        </a:rPr>
                        <a:t>Codificación del Color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2604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Diario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Semanal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Mensual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Raramente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Rojo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Azul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Verde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Naranja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0" name="9 Tabla"/>
          <p:cNvGraphicFramePr>
            <a:graphicFrameLocks noGrp="1"/>
          </p:cNvGraphicFramePr>
          <p:nvPr/>
        </p:nvGraphicFramePr>
        <p:xfrm>
          <a:off x="4394200" y="2308225"/>
          <a:ext cx="3617913" cy="3679825"/>
        </p:xfrm>
        <a:graphic>
          <a:graphicData uri="http://schemas.openxmlformats.org/drawingml/2006/table">
            <a:tbl>
              <a:tblPr/>
              <a:tblGrid>
                <a:gridCol w="445770"/>
                <a:gridCol w="2202606"/>
                <a:gridCol w="968991"/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b="1" dirty="0">
                          <a:latin typeface="Arial"/>
                          <a:ea typeface="Arial Unicode MS"/>
                          <a:cs typeface="Times New Roman"/>
                        </a:rPr>
                        <a:t>Nº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b="1">
                          <a:latin typeface="Arial"/>
                          <a:ea typeface="Arial Unicode MS"/>
                          <a:cs typeface="Times New Roman"/>
                        </a:rPr>
                        <a:t>Elementos encontrados</a:t>
                      </a:r>
                      <a:endParaRPr lang="es-ES" sz="1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b="1" dirty="0">
                          <a:latin typeface="Arial"/>
                          <a:ea typeface="Arial Unicode MS"/>
                          <a:cs typeface="Times New Roman"/>
                        </a:rPr>
                        <a:t>Color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latin typeface="Arial"/>
                          <a:ea typeface="Arial Unicode MS"/>
                          <a:cs typeface="Times New Roman"/>
                        </a:rPr>
                        <a:t>1</a:t>
                      </a:r>
                      <a:endParaRPr lang="es-ES" sz="140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latin typeface="Arial"/>
                          <a:ea typeface="Arial Unicode MS"/>
                          <a:cs typeface="Times New Roman"/>
                        </a:rPr>
                        <a:t>2</a:t>
                      </a:r>
                      <a:endParaRPr lang="es-ES" sz="140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latin typeface="Arial"/>
                          <a:ea typeface="Arial Unicode MS"/>
                          <a:cs typeface="Times New Roman"/>
                        </a:rPr>
                        <a:t>3</a:t>
                      </a:r>
                      <a:endParaRPr lang="es-ES" sz="140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latin typeface="Arial"/>
                          <a:ea typeface="Arial Unicode MS"/>
                          <a:cs typeface="Times New Roman"/>
                        </a:rPr>
                        <a:t>4</a:t>
                      </a:r>
                      <a:endParaRPr lang="es-ES" sz="140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latin typeface="Arial"/>
                          <a:ea typeface="Arial Unicode MS"/>
                          <a:cs typeface="Times New Roman"/>
                        </a:rPr>
                        <a:t>5</a:t>
                      </a:r>
                      <a:endParaRPr lang="es-ES" sz="140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latin typeface="Arial"/>
                          <a:ea typeface="Arial Unicode MS"/>
                          <a:cs typeface="Times New Roman"/>
                        </a:rPr>
                        <a:t>6</a:t>
                      </a:r>
                      <a:endParaRPr lang="es-ES" sz="140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latin typeface="Arial"/>
                          <a:ea typeface="Arial Unicode MS"/>
                          <a:cs typeface="Times New Roman"/>
                        </a:rPr>
                        <a:t>7</a:t>
                      </a:r>
                      <a:endParaRPr lang="es-ES" sz="140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latin typeface="Arial"/>
                          <a:ea typeface="Arial Unicode MS"/>
                          <a:cs typeface="Times New Roman"/>
                        </a:rPr>
                        <a:t>8</a:t>
                      </a:r>
                      <a:endParaRPr lang="es-ES" sz="140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latin typeface="Arial"/>
                          <a:ea typeface="Arial Unicode MS"/>
                          <a:cs typeface="Times New Roman"/>
                        </a:rPr>
                        <a:t>9</a:t>
                      </a:r>
                      <a:endParaRPr lang="es-ES" sz="140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latin typeface="Arial"/>
                          <a:ea typeface="Arial Unicode MS"/>
                          <a:cs typeface="Times New Roman"/>
                        </a:rPr>
                        <a:t>10</a:t>
                      </a:r>
                      <a:endParaRPr lang="es-ES" sz="140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latin typeface="Arial"/>
                          <a:ea typeface="Arial Unicode MS"/>
                          <a:cs typeface="Times New Roman"/>
                        </a:rPr>
                        <a:t>11</a:t>
                      </a:r>
                      <a:endParaRPr lang="es-ES" sz="140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latin typeface="Arial"/>
                          <a:ea typeface="Arial Unicode MS"/>
                          <a:cs typeface="Times New Roman"/>
                        </a:rPr>
                        <a:t>12</a:t>
                      </a:r>
                      <a:endParaRPr lang="es-ES" sz="140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latin typeface="Arial"/>
                          <a:ea typeface="Arial Unicode MS"/>
                          <a:cs typeface="Times New Roman"/>
                        </a:rPr>
                        <a:t>13</a:t>
                      </a:r>
                      <a:endParaRPr lang="es-ES" sz="140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latin typeface="Arial"/>
                          <a:ea typeface="Arial Unicode MS"/>
                          <a:cs typeface="Times New Roman"/>
                        </a:rPr>
                        <a:t>14</a:t>
                      </a:r>
                      <a:endParaRPr lang="es-ES" sz="14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Computadoras 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Herramientas 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Impresora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Tela en rollo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Archivador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Escobas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Aspiradora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Prendas de ropa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Anaqueles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Escritorios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Sillas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Mesa (para cortar tela)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Servidor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Retazos de tela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Rojo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Rojo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Rojo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Rojo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Verde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Azul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Azul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Azul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Azul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Rojo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Rojo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Rojo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Rojo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latin typeface="Arial"/>
                          <a:ea typeface="Arial Unicode MS"/>
                          <a:cs typeface="Times New Roman"/>
                        </a:rPr>
                        <a:t>Naranja</a:t>
                      </a:r>
                      <a:endParaRPr lang="es-ES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3 Marcador de pie de página"/>
          <p:cNvSpPr txBox="1">
            <a:spLocks/>
          </p:cNvSpPr>
          <p:nvPr/>
        </p:nvSpPr>
        <p:spPr bwMode="auto"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r>
              <a:rPr lang="de-DE" sz="1200" b="1" i="1" dirty="0">
                <a:solidFill>
                  <a:schemeClr val="tx2"/>
                </a:solidFill>
              </a:rPr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7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27652" name="Rectangle 6"/>
          <p:cNvSpPr>
            <a:spLocks noChangeArrowheads="1"/>
          </p:cNvSpPr>
          <p:nvPr/>
        </p:nvSpPr>
        <p:spPr bwMode="auto">
          <a:xfrm>
            <a:off x="528638" y="2352675"/>
            <a:ext cx="4665662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>
                <a:latin typeface="+mn-lt"/>
              </a:rPr>
              <a:t>Marcación y codificación con colores</a:t>
            </a:r>
          </a:p>
          <a:p>
            <a:pPr algn="just">
              <a:defRPr/>
            </a:pPr>
            <a:r>
              <a:rPr lang="es-ES" sz="1400" dirty="0"/>
              <a:t> </a:t>
            </a:r>
          </a:p>
          <a:p>
            <a:pPr algn="just">
              <a:defRPr/>
            </a:pPr>
            <a:endParaRPr lang="es-ES" sz="1400" dirty="0"/>
          </a:p>
        </p:txBody>
      </p:sp>
      <p:sp>
        <p:nvSpPr>
          <p:cNvPr id="2" name="Rectangle 11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s-ES" b="1"/>
              <a:t>Implementación 5 S</a:t>
            </a:r>
          </a:p>
        </p:txBody>
      </p:sp>
      <p:sp>
        <p:nvSpPr>
          <p:cNvPr id="27653" name="Rectangle 3"/>
          <p:cNvSpPr>
            <a:spLocks noChangeArrowheads="1"/>
          </p:cNvSpPr>
          <p:nvPr/>
        </p:nvSpPr>
        <p:spPr bwMode="gray">
          <a:xfrm>
            <a:off x="346075" y="1911350"/>
            <a:ext cx="8488363" cy="376238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r>
              <a:rPr lang="es-ES" b="1">
                <a:solidFill>
                  <a:schemeClr val="bg1"/>
                </a:solidFill>
              </a:rPr>
              <a:t>Seiton ORDEN</a:t>
            </a:r>
          </a:p>
        </p:txBody>
      </p:sp>
      <p:pic>
        <p:nvPicPr>
          <p:cNvPr id="27654" name="Picture 2"/>
          <p:cNvPicPr>
            <a:picLocks noChangeAspect="1" noChangeArrowheads="1"/>
          </p:cNvPicPr>
          <p:nvPr/>
        </p:nvPicPr>
        <p:blipFill>
          <a:blip r:embed="rId4"/>
          <a:srcRect l="5443" t="20642" r="31447" b="16176"/>
          <a:stretch>
            <a:fillRect/>
          </a:stretch>
        </p:blipFill>
        <p:spPr bwMode="auto">
          <a:xfrm>
            <a:off x="2006600" y="2713038"/>
            <a:ext cx="5046663" cy="337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3 Marcador de pie de página"/>
          <p:cNvSpPr txBox="1">
            <a:spLocks/>
          </p:cNvSpPr>
          <p:nvPr/>
        </p:nvSpPr>
        <p:spPr bwMode="auto"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r>
              <a:rPr lang="de-DE" sz="1200" b="1" i="1" dirty="0">
                <a:solidFill>
                  <a:schemeClr val="tx2"/>
                </a:solidFill>
              </a:rPr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7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28676" name="Rectangle 6"/>
          <p:cNvSpPr>
            <a:spLocks noChangeArrowheads="1"/>
          </p:cNvSpPr>
          <p:nvPr/>
        </p:nvSpPr>
        <p:spPr bwMode="auto">
          <a:xfrm>
            <a:off x="344488" y="2352675"/>
            <a:ext cx="8418512" cy="238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/>
              <a:t>Campaña de limpieza</a:t>
            </a:r>
            <a:endParaRPr lang="es-ES" sz="1600" b="1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ES" sz="1400" b="1" dirty="0"/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/>
              <a:t>Planificar el mantenimiento de la limpieza</a:t>
            </a:r>
            <a:endParaRPr lang="es-ES" sz="1600" dirty="0"/>
          </a:p>
          <a:p>
            <a:pPr algn="just">
              <a:defRPr/>
            </a:pPr>
            <a:r>
              <a:rPr lang="es-ES" sz="1400" dirty="0"/>
              <a:t>    </a:t>
            </a:r>
          </a:p>
          <a:p>
            <a:pPr algn="just">
              <a:defRPr/>
            </a:pPr>
            <a:r>
              <a:rPr lang="es-ES" sz="1400" dirty="0"/>
              <a:t>    Equipo A: Personal del Departamento de Diseño</a:t>
            </a:r>
          </a:p>
          <a:p>
            <a:pPr algn="just">
              <a:defRPr/>
            </a:pPr>
            <a:r>
              <a:rPr lang="es-ES" sz="1400" dirty="0"/>
              <a:t>    Equipo B: Personal del Departamento de Corte</a:t>
            </a:r>
          </a:p>
          <a:p>
            <a:pPr algn="just">
              <a:defRPr/>
            </a:pPr>
            <a:r>
              <a:rPr lang="es-ES" sz="1400" dirty="0"/>
              <a:t>    Equipo C: Personal del Departamento de Sistemas </a:t>
            </a:r>
          </a:p>
          <a:p>
            <a:pPr algn="just">
              <a:defRPr/>
            </a:pPr>
            <a:endParaRPr lang="es-ES" sz="1400" dirty="0"/>
          </a:p>
          <a:p>
            <a:pPr algn="just">
              <a:defRPr/>
            </a:pPr>
            <a:endParaRPr lang="es-ES" sz="1400" dirty="0"/>
          </a:p>
          <a:p>
            <a:pPr algn="just">
              <a:defRPr/>
            </a:pPr>
            <a:r>
              <a:rPr lang="es-ES" sz="1400" dirty="0"/>
              <a:t> </a:t>
            </a:r>
          </a:p>
          <a:p>
            <a:pPr algn="just">
              <a:defRPr/>
            </a:pPr>
            <a:endParaRPr lang="es-ES" sz="1400" dirty="0"/>
          </a:p>
        </p:txBody>
      </p:sp>
      <p:sp>
        <p:nvSpPr>
          <p:cNvPr id="2" name="Rectangle 11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s-ES" b="1"/>
              <a:t>Implementación 5 S</a:t>
            </a:r>
          </a:p>
        </p:txBody>
      </p:sp>
      <p:sp>
        <p:nvSpPr>
          <p:cNvPr id="28677" name="Rectangle 3"/>
          <p:cNvSpPr>
            <a:spLocks noChangeArrowheads="1"/>
          </p:cNvSpPr>
          <p:nvPr/>
        </p:nvSpPr>
        <p:spPr bwMode="gray">
          <a:xfrm>
            <a:off x="346075" y="1911350"/>
            <a:ext cx="8488363" cy="376238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r>
              <a:rPr lang="es-ES" b="1">
                <a:solidFill>
                  <a:schemeClr val="bg1"/>
                </a:solidFill>
              </a:rPr>
              <a:t>Seiso LIMPIEZA</a:t>
            </a:r>
          </a:p>
        </p:txBody>
      </p:sp>
      <p:graphicFrame>
        <p:nvGraphicFramePr>
          <p:cNvPr id="8" name="7 Tabla"/>
          <p:cNvGraphicFramePr>
            <a:graphicFrameLocks noGrp="1"/>
          </p:cNvGraphicFramePr>
          <p:nvPr/>
        </p:nvGraphicFramePr>
        <p:xfrm>
          <a:off x="4694238" y="2355850"/>
          <a:ext cx="3911600" cy="1892300"/>
        </p:xfrm>
        <a:graphic>
          <a:graphicData uri="http://schemas.openxmlformats.org/drawingml/2006/table">
            <a:tbl>
              <a:tblPr/>
              <a:tblGrid>
                <a:gridCol w="1280795"/>
                <a:gridCol w="740259"/>
                <a:gridCol w="791570"/>
                <a:gridCol w="1098976"/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 dirty="0">
                          <a:latin typeface="Arial"/>
                          <a:ea typeface="Arial Unicode MS"/>
                          <a:cs typeface="Times New Roman"/>
                        </a:rPr>
                        <a:t>Elementos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 dirty="0">
                          <a:latin typeface="Arial"/>
                          <a:ea typeface="Arial Unicode MS"/>
                          <a:cs typeface="Times New Roman"/>
                        </a:rPr>
                        <a:t>Eliminar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 dirty="0">
                          <a:latin typeface="Arial"/>
                          <a:ea typeface="Arial Unicode MS"/>
                          <a:cs typeface="Times New Roman"/>
                        </a:rPr>
                        <a:t>Reubicar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>
                          <a:latin typeface="Arial"/>
                          <a:ea typeface="Arial Unicode MS"/>
                          <a:cs typeface="Times New Roman"/>
                        </a:rPr>
                        <a:t>Equipo Responsable</a:t>
                      </a:r>
                      <a:endParaRPr lang="es-ES" sz="12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Escobas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Aspiradora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Prendas de ropa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Servidor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Retazos de tela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Periódicos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Sacos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s-ES" sz="1200" dirty="0">
                        <a:latin typeface="Arial"/>
                        <a:ea typeface="Arial Unicode MS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s-ES" sz="1200" dirty="0" smtClean="0">
                        <a:latin typeface="Arial"/>
                        <a:ea typeface="Arial Unicode MS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s-ES" sz="1200" dirty="0" smtClean="0">
                        <a:latin typeface="Arial"/>
                        <a:ea typeface="Arial Unicode MS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s-ES" sz="1200" dirty="0" smtClean="0">
                        <a:latin typeface="Arial"/>
                        <a:ea typeface="Arial Unicode MS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latin typeface="Arial"/>
                          <a:ea typeface="Arial Unicode MS"/>
                          <a:cs typeface="Times New Roman"/>
                        </a:rPr>
                        <a:t>X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X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X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X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X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X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X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A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A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B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C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A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B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latin typeface="Arial"/>
                          <a:ea typeface="Arial Unicode MS"/>
                          <a:cs typeface="Times New Roman"/>
                        </a:rPr>
                        <a:t>B</a:t>
                      </a:r>
                      <a:endParaRPr lang="es-ES" sz="12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3 Marcador de pie de página"/>
          <p:cNvSpPr txBox="1">
            <a:spLocks/>
          </p:cNvSpPr>
          <p:nvPr/>
        </p:nvSpPr>
        <p:spPr bwMode="auto"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r>
              <a:rPr lang="de-DE" sz="1200" b="1" i="1" dirty="0">
                <a:solidFill>
                  <a:schemeClr val="tx2"/>
                </a:solidFill>
              </a:rPr>
              <a:t>Ing. Auditoría y Contaduría Pública Autorizada</a:t>
            </a:r>
          </a:p>
        </p:txBody>
      </p:sp>
      <p:pic>
        <p:nvPicPr>
          <p:cNvPr id="28696" name="Picture 2"/>
          <p:cNvPicPr>
            <a:picLocks noChangeAspect="1" noChangeArrowheads="1"/>
          </p:cNvPicPr>
          <p:nvPr/>
        </p:nvPicPr>
        <p:blipFill>
          <a:blip r:embed="rId4"/>
          <a:srcRect l="12767" t="49687" r="6017" b="23647"/>
          <a:stretch>
            <a:fillRect/>
          </a:stretch>
        </p:blipFill>
        <p:spPr bwMode="auto">
          <a:xfrm>
            <a:off x="427038" y="4394200"/>
            <a:ext cx="8181975" cy="157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7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29700" name="Rectangle 6"/>
          <p:cNvSpPr>
            <a:spLocks noChangeArrowheads="1"/>
          </p:cNvSpPr>
          <p:nvPr/>
        </p:nvSpPr>
        <p:spPr bwMode="auto">
          <a:xfrm>
            <a:off x="401638" y="2352675"/>
            <a:ext cx="3751262" cy="1209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/>
              <a:t>Planificar el mantenimiento de la limpieza</a:t>
            </a:r>
          </a:p>
          <a:p>
            <a:pPr>
              <a:defRPr/>
            </a:pPr>
            <a:r>
              <a:rPr lang="es-ES" sz="1400" dirty="0"/>
              <a:t>    Zonas Verdes: Equipo B</a:t>
            </a:r>
          </a:p>
          <a:p>
            <a:pPr>
              <a:defRPr/>
            </a:pPr>
            <a:r>
              <a:rPr lang="es-ES" sz="1400" dirty="0"/>
              <a:t>    Zonas Azules: Equipo A </a:t>
            </a:r>
          </a:p>
          <a:p>
            <a:pPr>
              <a:defRPr/>
            </a:pPr>
            <a:r>
              <a:rPr lang="es-ES" sz="1400" dirty="0"/>
              <a:t>    Zonas Amarillas: Equipo C</a:t>
            </a:r>
          </a:p>
          <a:p>
            <a:pPr algn="just">
              <a:defRPr/>
            </a:pPr>
            <a:endParaRPr lang="es-ES" sz="1400" b="1" dirty="0"/>
          </a:p>
          <a:p>
            <a:pPr algn="just">
              <a:defRPr/>
            </a:pPr>
            <a:endParaRPr lang="es-ES" sz="1400" dirty="0"/>
          </a:p>
          <a:p>
            <a:pPr algn="just">
              <a:defRPr/>
            </a:pPr>
            <a:endParaRPr lang="es-ES" sz="1400" dirty="0"/>
          </a:p>
          <a:p>
            <a:pPr algn="just">
              <a:defRPr/>
            </a:pPr>
            <a:r>
              <a:rPr lang="es-ES" sz="1400" dirty="0"/>
              <a:t> </a:t>
            </a:r>
          </a:p>
          <a:p>
            <a:pPr algn="just">
              <a:defRPr/>
            </a:pPr>
            <a:endParaRPr lang="es-ES" sz="1400" dirty="0"/>
          </a:p>
        </p:txBody>
      </p:sp>
      <p:sp>
        <p:nvSpPr>
          <p:cNvPr id="2" name="Rectangle 11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s-ES" b="1"/>
              <a:t>Implementación 5 S</a:t>
            </a:r>
          </a:p>
        </p:txBody>
      </p:sp>
      <p:sp>
        <p:nvSpPr>
          <p:cNvPr id="29701" name="Rectangle 3"/>
          <p:cNvSpPr>
            <a:spLocks noChangeArrowheads="1"/>
          </p:cNvSpPr>
          <p:nvPr/>
        </p:nvSpPr>
        <p:spPr bwMode="gray">
          <a:xfrm>
            <a:off x="346075" y="1911350"/>
            <a:ext cx="8488363" cy="376238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r>
              <a:rPr lang="es-ES" b="1">
                <a:solidFill>
                  <a:schemeClr val="bg1"/>
                </a:solidFill>
              </a:rPr>
              <a:t>Seiso LIMPIEZA</a:t>
            </a:r>
          </a:p>
        </p:txBody>
      </p:sp>
      <p:pic>
        <p:nvPicPr>
          <p:cNvPr id="29702" name="Picture 2"/>
          <p:cNvPicPr>
            <a:picLocks noChangeAspect="1" noChangeArrowheads="1"/>
          </p:cNvPicPr>
          <p:nvPr/>
        </p:nvPicPr>
        <p:blipFill>
          <a:blip r:embed="rId4"/>
          <a:srcRect l="11124" t="3242" r="11702" b="3801"/>
          <a:stretch>
            <a:fillRect/>
          </a:stretch>
        </p:blipFill>
        <p:spPr bwMode="auto">
          <a:xfrm>
            <a:off x="5345113" y="736600"/>
            <a:ext cx="3490912" cy="544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9 Tabla"/>
          <p:cNvGraphicFramePr>
            <a:graphicFrameLocks noGrp="1"/>
          </p:cNvGraphicFramePr>
          <p:nvPr/>
        </p:nvGraphicFramePr>
        <p:xfrm>
          <a:off x="463550" y="3622675"/>
          <a:ext cx="4203700" cy="2806700"/>
        </p:xfrm>
        <a:graphic>
          <a:graphicData uri="http://schemas.openxmlformats.org/drawingml/2006/table">
            <a:tbl>
              <a:tblPr/>
              <a:tblGrid>
                <a:gridCol w="137432"/>
                <a:gridCol w="930186"/>
                <a:gridCol w="961426"/>
                <a:gridCol w="173542"/>
                <a:gridCol w="971837"/>
                <a:gridCol w="900837"/>
                <a:gridCol w="128603"/>
              </a:tblGrid>
              <a:tr h="831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6865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CRONOGRAMA DE LIMPIEZA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6865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6865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Equipo: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Jefe de Equipo: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6865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Elemento: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Hora de Inicio: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6865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Lugar: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Hora Fin: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7733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6865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Eliminado 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Reubicado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71663">
                <a:tc gridSpan="6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   </a:t>
                      </a:r>
                      <a:r>
                        <a:rPr lang="es-ES" sz="1000" dirty="0" smtClean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 Si </a:t>
                      </a: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se reubica: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6865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Lugar: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6865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Responsable: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6865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6865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6865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Aprobado por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6865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1" name="3 Marcador de pie de página"/>
          <p:cNvSpPr txBox="1">
            <a:spLocks/>
          </p:cNvSpPr>
          <p:nvPr/>
        </p:nvSpPr>
        <p:spPr bwMode="auto"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r>
              <a:rPr lang="de-DE" sz="1200" b="1" i="1" dirty="0">
                <a:solidFill>
                  <a:schemeClr val="tx2"/>
                </a:solidFill>
              </a:rPr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7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30724" name="Rectangle 6"/>
          <p:cNvSpPr>
            <a:spLocks noChangeArrowheads="1"/>
          </p:cNvSpPr>
          <p:nvPr/>
        </p:nvSpPr>
        <p:spPr bwMode="auto">
          <a:xfrm>
            <a:off x="373063" y="2447925"/>
            <a:ext cx="3570287" cy="209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/>
              <a:t>Preparar el Manual de Limpieza</a:t>
            </a:r>
          </a:p>
          <a:p>
            <a:pPr>
              <a:defRPr/>
            </a:pPr>
            <a:endParaRPr lang="es-ES" sz="1400" b="1" dirty="0"/>
          </a:p>
          <a:p>
            <a:pPr marL="190500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/>
              <a:t>Prepara elementos para la Limpieza</a:t>
            </a:r>
          </a:p>
          <a:p>
            <a:pPr>
              <a:defRPr/>
            </a:pPr>
            <a:endParaRPr lang="es-ES" sz="1400" b="1" dirty="0"/>
          </a:p>
          <a:p>
            <a:pPr marL="190500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/>
              <a:t>Implementación de la Limpieza</a:t>
            </a:r>
          </a:p>
          <a:p>
            <a:pPr>
              <a:defRPr/>
            </a:pPr>
            <a:endParaRPr lang="es-ES" sz="1400" b="1" dirty="0"/>
          </a:p>
          <a:p>
            <a:pPr>
              <a:defRPr/>
            </a:pPr>
            <a:endParaRPr lang="es-ES" sz="1400" dirty="0"/>
          </a:p>
          <a:p>
            <a:pPr>
              <a:defRPr/>
            </a:pPr>
            <a:endParaRPr lang="es-ES" sz="1400" dirty="0"/>
          </a:p>
          <a:p>
            <a:pPr>
              <a:defRPr/>
            </a:pPr>
            <a:r>
              <a:rPr lang="es-ES" sz="1400" dirty="0"/>
              <a:t> </a:t>
            </a:r>
          </a:p>
          <a:p>
            <a:pPr>
              <a:defRPr/>
            </a:pPr>
            <a:endParaRPr lang="es-ES" sz="1400" dirty="0"/>
          </a:p>
        </p:txBody>
      </p:sp>
      <p:sp>
        <p:nvSpPr>
          <p:cNvPr id="2" name="Rectangle 11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s-ES" b="1"/>
              <a:t>Implementación 5 S</a:t>
            </a:r>
          </a:p>
        </p:txBody>
      </p:sp>
      <p:sp>
        <p:nvSpPr>
          <p:cNvPr id="30725" name="Rectangle 3"/>
          <p:cNvSpPr>
            <a:spLocks noChangeArrowheads="1"/>
          </p:cNvSpPr>
          <p:nvPr/>
        </p:nvSpPr>
        <p:spPr bwMode="gray">
          <a:xfrm>
            <a:off x="346075" y="1911350"/>
            <a:ext cx="8488363" cy="376238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r>
              <a:rPr lang="es-ES" b="1">
                <a:solidFill>
                  <a:schemeClr val="bg1"/>
                </a:solidFill>
              </a:rPr>
              <a:t>Seiso LIMPIEZA</a:t>
            </a:r>
          </a:p>
        </p:txBody>
      </p:sp>
      <p:pic>
        <p:nvPicPr>
          <p:cNvPr id="30726" name="Picture 1"/>
          <p:cNvPicPr>
            <a:picLocks noChangeAspect="1" noChangeArrowheads="1"/>
          </p:cNvPicPr>
          <p:nvPr/>
        </p:nvPicPr>
        <p:blipFill>
          <a:blip r:embed="rId4"/>
          <a:srcRect t="9409"/>
          <a:stretch>
            <a:fillRect/>
          </a:stretch>
        </p:blipFill>
        <p:spPr bwMode="auto">
          <a:xfrm>
            <a:off x="3944938" y="2424113"/>
            <a:ext cx="4872037" cy="2967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3 Marcador de pie de página"/>
          <p:cNvSpPr txBox="1">
            <a:spLocks/>
          </p:cNvSpPr>
          <p:nvPr/>
        </p:nvSpPr>
        <p:spPr bwMode="auto"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r>
              <a:rPr lang="de-DE" sz="1200" b="1" i="1" dirty="0">
                <a:solidFill>
                  <a:schemeClr val="tx2"/>
                </a:solidFill>
              </a:rPr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7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31748" name="Rectangle 6"/>
          <p:cNvSpPr>
            <a:spLocks noChangeArrowheads="1"/>
          </p:cNvSpPr>
          <p:nvPr/>
        </p:nvSpPr>
        <p:spPr bwMode="auto">
          <a:xfrm>
            <a:off x="439738" y="2667000"/>
            <a:ext cx="6427787" cy="163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/>
              <a:t>Estandarización</a:t>
            </a:r>
          </a:p>
          <a:p>
            <a:pPr>
              <a:defRPr/>
            </a:pPr>
            <a:endParaRPr lang="es-ES" sz="1400" b="1" dirty="0"/>
          </a:p>
          <a:p>
            <a:pPr marL="190500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/>
              <a:t>Asignar trabajos y responsables</a:t>
            </a:r>
          </a:p>
          <a:p>
            <a:pPr>
              <a:defRPr/>
            </a:pPr>
            <a:endParaRPr lang="es-ES" sz="1400" dirty="0"/>
          </a:p>
          <a:p>
            <a:pPr marL="190500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/>
              <a:t>Integrar las acciones, clasificar, ordenar y limpiar en los trabajos</a:t>
            </a:r>
          </a:p>
          <a:p>
            <a:pPr>
              <a:defRPr/>
            </a:pPr>
            <a:endParaRPr lang="es-ES" sz="1400" dirty="0"/>
          </a:p>
          <a:p>
            <a:pPr algn="just">
              <a:defRPr/>
            </a:pPr>
            <a:endParaRPr lang="es-ES" sz="1400" b="1" dirty="0"/>
          </a:p>
          <a:p>
            <a:pPr algn="just">
              <a:defRPr/>
            </a:pPr>
            <a:endParaRPr lang="es-ES" sz="1400" dirty="0"/>
          </a:p>
          <a:p>
            <a:pPr algn="just">
              <a:defRPr/>
            </a:pPr>
            <a:endParaRPr lang="es-ES" sz="1400" dirty="0"/>
          </a:p>
          <a:p>
            <a:pPr algn="just">
              <a:defRPr/>
            </a:pPr>
            <a:r>
              <a:rPr lang="es-ES" sz="1400" dirty="0"/>
              <a:t> </a:t>
            </a:r>
          </a:p>
          <a:p>
            <a:pPr algn="just">
              <a:defRPr/>
            </a:pPr>
            <a:endParaRPr lang="es-ES" sz="1400" dirty="0"/>
          </a:p>
        </p:txBody>
      </p:sp>
      <p:sp>
        <p:nvSpPr>
          <p:cNvPr id="2" name="Rectangle 11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s-ES" b="1"/>
              <a:t>Implementación 5 S</a:t>
            </a:r>
          </a:p>
        </p:txBody>
      </p:sp>
      <p:sp>
        <p:nvSpPr>
          <p:cNvPr id="31749" name="Rectangle 3"/>
          <p:cNvSpPr>
            <a:spLocks noChangeArrowheads="1"/>
          </p:cNvSpPr>
          <p:nvPr/>
        </p:nvSpPr>
        <p:spPr bwMode="gray">
          <a:xfrm>
            <a:off x="346075" y="1911350"/>
            <a:ext cx="8488363" cy="376238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r>
              <a:rPr lang="es-ES" b="1">
                <a:solidFill>
                  <a:schemeClr val="bg1"/>
                </a:solidFill>
              </a:rPr>
              <a:t>Seiketsu ESTANDARIZAR</a:t>
            </a:r>
          </a:p>
        </p:txBody>
      </p:sp>
      <p:sp>
        <p:nvSpPr>
          <p:cNvPr id="8" name="3 Marcador de pie de página"/>
          <p:cNvSpPr txBox="1">
            <a:spLocks/>
          </p:cNvSpPr>
          <p:nvPr/>
        </p:nvSpPr>
        <p:spPr bwMode="auto"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r>
              <a:rPr lang="de-DE" sz="1200" b="1" i="1" dirty="0">
                <a:solidFill>
                  <a:schemeClr val="tx2"/>
                </a:solidFill>
              </a:rPr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7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32772" name="Rectangle 6"/>
          <p:cNvSpPr>
            <a:spLocks noChangeArrowheads="1"/>
          </p:cNvSpPr>
          <p:nvPr/>
        </p:nvSpPr>
        <p:spPr bwMode="auto">
          <a:xfrm>
            <a:off x="439738" y="2462213"/>
            <a:ext cx="3846512" cy="163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/>
              <a:t>Formación</a:t>
            </a:r>
          </a:p>
          <a:p>
            <a:pPr marL="190500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ES" sz="1400" b="1" dirty="0"/>
          </a:p>
          <a:p>
            <a:pPr marL="190500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/>
              <a:t>Papel de la Dirección</a:t>
            </a:r>
          </a:p>
          <a:p>
            <a:pPr marL="190500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ES" sz="1600" b="1" dirty="0"/>
          </a:p>
          <a:p>
            <a:pPr marL="190500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600" b="1" dirty="0"/>
              <a:t>Papel de los Trabajadores</a:t>
            </a:r>
          </a:p>
          <a:p>
            <a:pPr>
              <a:defRPr/>
            </a:pPr>
            <a:endParaRPr lang="es-ES" sz="1400" b="1" dirty="0"/>
          </a:p>
          <a:p>
            <a:pPr>
              <a:defRPr/>
            </a:pPr>
            <a:endParaRPr lang="es-ES" sz="1400" b="1" dirty="0"/>
          </a:p>
          <a:p>
            <a:pPr>
              <a:defRPr/>
            </a:pPr>
            <a:endParaRPr lang="es-ES" sz="1400" b="1" dirty="0"/>
          </a:p>
          <a:p>
            <a:pPr>
              <a:defRPr/>
            </a:pPr>
            <a:endParaRPr lang="es-ES" sz="1400" dirty="0"/>
          </a:p>
          <a:p>
            <a:pPr>
              <a:defRPr/>
            </a:pPr>
            <a:endParaRPr lang="es-ES" sz="1400" dirty="0"/>
          </a:p>
          <a:p>
            <a:pPr algn="just">
              <a:defRPr/>
            </a:pPr>
            <a:endParaRPr lang="es-ES" sz="1400" b="1" dirty="0"/>
          </a:p>
          <a:p>
            <a:pPr algn="just">
              <a:defRPr/>
            </a:pPr>
            <a:endParaRPr lang="es-ES" sz="1400" dirty="0"/>
          </a:p>
          <a:p>
            <a:pPr algn="just">
              <a:defRPr/>
            </a:pPr>
            <a:endParaRPr lang="es-ES" sz="1400" dirty="0"/>
          </a:p>
          <a:p>
            <a:pPr algn="just">
              <a:defRPr/>
            </a:pPr>
            <a:r>
              <a:rPr lang="es-ES" sz="1400" dirty="0"/>
              <a:t> </a:t>
            </a:r>
          </a:p>
          <a:p>
            <a:pPr algn="just">
              <a:defRPr/>
            </a:pPr>
            <a:endParaRPr lang="es-ES" sz="1400" dirty="0"/>
          </a:p>
        </p:txBody>
      </p:sp>
      <p:sp>
        <p:nvSpPr>
          <p:cNvPr id="2" name="Rectangle 11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s-ES" b="1"/>
              <a:t>Implementación 5 S</a:t>
            </a:r>
          </a:p>
        </p:txBody>
      </p:sp>
      <p:sp>
        <p:nvSpPr>
          <p:cNvPr id="32773" name="Rectangle 3"/>
          <p:cNvSpPr>
            <a:spLocks noChangeArrowheads="1"/>
          </p:cNvSpPr>
          <p:nvPr/>
        </p:nvSpPr>
        <p:spPr bwMode="gray">
          <a:xfrm>
            <a:off x="346075" y="1911350"/>
            <a:ext cx="8488363" cy="376238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r>
              <a:rPr lang="es-ES" b="1">
                <a:solidFill>
                  <a:schemeClr val="bg1"/>
                </a:solidFill>
              </a:rPr>
              <a:t>Shitsuke DISCIPLINA</a:t>
            </a:r>
          </a:p>
        </p:txBody>
      </p:sp>
      <p:pic>
        <p:nvPicPr>
          <p:cNvPr id="32774" name="Picture 2"/>
          <p:cNvPicPr>
            <a:picLocks noChangeAspect="1" noChangeArrowheads="1"/>
          </p:cNvPicPr>
          <p:nvPr/>
        </p:nvPicPr>
        <p:blipFill>
          <a:blip r:embed="rId4"/>
          <a:srcRect l="8897" t="22359" r="48175" b="13104"/>
          <a:stretch>
            <a:fillRect/>
          </a:stretch>
        </p:blipFill>
        <p:spPr bwMode="auto">
          <a:xfrm>
            <a:off x="4791075" y="1092200"/>
            <a:ext cx="4065588" cy="4899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775" name="Picture 3"/>
          <p:cNvPicPr>
            <a:picLocks noChangeAspect="1" noChangeArrowheads="1"/>
          </p:cNvPicPr>
          <p:nvPr/>
        </p:nvPicPr>
        <p:blipFill>
          <a:blip r:embed="rId5"/>
          <a:srcRect t="-2275"/>
          <a:stretch>
            <a:fillRect/>
          </a:stretch>
        </p:blipFill>
        <p:spPr bwMode="auto">
          <a:xfrm>
            <a:off x="573088" y="4408488"/>
            <a:ext cx="3001962" cy="1404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3 Marcador de pie de página"/>
          <p:cNvSpPr txBox="1">
            <a:spLocks/>
          </p:cNvSpPr>
          <p:nvPr/>
        </p:nvSpPr>
        <p:spPr bwMode="auto"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r>
              <a:rPr lang="de-DE" sz="1200" b="1" i="1" dirty="0">
                <a:solidFill>
                  <a:schemeClr val="tx2"/>
                </a:solidFill>
              </a:rPr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7561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s-EC" dirty="0" smtClean="0"/>
              <a:t>Empresa</a:t>
            </a:r>
            <a:endParaRPr lang="es-EC" dirty="0"/>
          </a:p>
        </p:txBody>
      </p:sp>
      <p:sp>
        <p:nvSpPr>
          <p:cNvPr id="10244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319088" y="1638300"/>
            <a:ext cx="8515350" cy="4516438"/>
          </a:xfrm>
        </p:spPr>
        <p:txBody>
          <a:bodyPr/>
          <a:lstStyle/>
          <a:p>
            <a:pPr>
              <a:defRPr/>
            </a:pPr>
            <a:endParaRPr lang="es-ES" sz="1800" dirty="0" smtClean="0"/>
          </a:p>
          <a:p>
            <a:pPr>
              <a:defRPr/>
            </a:pPr>
            <a:r>
              <a:rPr lang="es-ES" sz="1800" dirty="0" smtClean="0"/>
              <a:t>Guayaquil</a:t>
            </a:r>
          </a:p>
          <a:p>
            <a:pPr>
              <a:defRPr/>
            </a:pPr>
            <a:r>
              <a:rPr lang="es-ES" sz="1800" dirty="0" smtClean="0"/>
              <a:t>Prendas de vestir</a:t>
            </a:r>
          </a:p>
          <a:p>
            <a:pPr>
              <a:defRPr/>
            </a:pPr>
            <a:endParaRPr lang="es-EC" sz="1800" dirty="0" smtClean="0"/>
          </a:p>
          <a:p>
            <a:pPr>
              <a:defRPr/>
            </a:pPr>
            <a:endParaRPr lang="es-EC" sz="1800" dirty="0" smtClean="0"/>
          </a:p>
          <a:p>
            <a:pPr>
              <a:lnSpc>
                <a:spcPct val="110000"/>
              </a:lnSpc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s-ES" sz="1800" b="1" kern="1200" dirty="0" smtClean="0">
                <a:solidFill>
                  <a:schemeClr val="accent1"/>
                </a:solidFill>
              </a:rPr>
              <a:t>Área Administrativa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pitchFamily="2" charset="2"/>
              <a:buNone/>
              <a:defRPr/>
            </a:pPr>
            <a:endParaRPr lang="es-ES" sz="1500" b="1" kern="1200" dirty="0" smtClean="0">
              <a:solidFill>
                <a:schemeClr val="accent1"/>
              </a:solidFill>
            </a:endParaRPr>
          </a:p>
          <a:p>
            <a:pPr>
              <a:lnSpc>
                <a:spcPct val="110000"/>
              </a:lnSpc>
              <a:defRPr/>
            </a:pPr>
            <a:r>
              <a:rPr lang="es-ES" sz="1800" dirty="0" smtClean="0"/>
              <a:t>Organización pequeña</a:t>
            </a:r>
          </a:p>
          <a:p>
            <a:pPr>
              <a:lnSpc>
                <a:spcPct val="110000"/>
              </a:lnSpc>
              <a:defRPr/>
            </a:pPr>
            <a:r>
              <a:rPr lang="es-ES" sz="1800" dirty="0" smtClean="0"/>
              <a:t>Área administrativa y financiera</a:t>
            </a:r>
          </a:p>
          <a:p>
            <a:pPr>
              <a:lnSpc>
                <a:spcPct val="110000"/>
              </a:lnSpc>
              <a:defRPr/>
            </a:pPr>
            <a:r>
              <a:rPr lang="es-ES" sz="1800" dirty="0" smtClean="0"/>
              <a:t>Toma de decisiones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pitchFamily="2" charset="2"/>
              <a:buNone/>
              <a:defRPr/>
            </a:pPr>
            <a:endParaRPr lang="es-ES" sz="1800" b="1" kern="1200" dirty="0" smtClean="0">
              <a:solidFill>
                <a:schemeClr val="accent1"/>
              </a:solidFill>
            </a:endParaRPr>
          </a:p>
        </p:txBody>
      </p:sp>
      <p:sp>
        <p:nvSpPr>
          <p:cNvPr id="10245" name="Rectangle 4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lnSpc>
                <a:spcPct val="110000"/>
              </a:lnSpc>
              <a:defRPr/>
            </a:pPr>
            <a:r>
              <a:rPr lang="es-ES" b="1" dirty="0">
                <a:solidFill>
                  <a:schemeClr val="accent1"/>
                </a:solidFill>
                <a:latin typeface="+mn-lt"/>
              </a:rPr>
              <a:t>Antecedentes</a:t>
            </a:r>
            <a:endParaRPr lang="en-US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3 Marcador de pie de página"/>
          <p:cNvSpPr txBox="1">
            <a:spLocks/>
          </p:cNvSpPr>
          <p:nvPr/>
        </p:nvSpPr>
        <p:spPr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de-DE" sz="1200" b="1" i="1" dirty="0"/>
              <a:t>Ing. Auditoría y Contaduría Pública Autorizada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7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33795" name="Rectangle 11"/>
          <p:cNvSpPr>
            <a:spLocks noChangeArrowheads="1"/>
          </p:cNvSpPr>
          <p:nvPr/>
        </p:nvSpPr>
        <p:spPr bwMode="auto">
          <a:xfrm>
            <a:off x="323850" y="119221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s-ES" b="1"/>
              <a:t>Matriz de Indicadores</a:t>
            </a:r>
          </a:p>
        </p:txBody>
      </p:sp>
      <p:graphicFrame>
        <p:nvGraphicFramePr>
          <p:cNvPr id="7" name="6 Tabla"/>
          <p:cNvGraphicFramePr>
            <a:graphicFrameLocks noGrp="1"/>
          </p:cNvGraphicFramePr>
          <p:nvPr/>
        </p:nvGraphicFramePr>
        <p:xfrm>
          <a:off x="427038" y="1544638"/>
          <a:ext cx="8266112" cy="4611687"/>
        </p:xfrm>
        <a:graphic>
          <a:graphicData uri="http://schemas.openxmlformats.org/drawingml/2006/table">
            <a:tbl>
              <a:tblPr/>
              <a:tblGrid>
                <a:gridCol w="1128157"/>
                <a:gridCol w="1377538"/>
                <a:gridCol w="2088227"/>
                <a:gridCol w="431918"/>
                <a:gridCol w="1173081"/>
                <a:gridCol w="1033153"/>
                <a:gridCol w="1033154"/>
              </a:tblGrid>
              <a:tr h="228251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2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ipo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Nombre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ES" sz="12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Fórmula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Periodo de Evaluación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edición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esponsable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9110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s-ES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fectividad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Efectividad en el uso de las instalaciones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Volumen Producido</a:t>
                      </a:r>
                    </a:p>
                  </a:txBody>
                  <a:tcPr marL="4258" marR="4258" marT="425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x100</a:t>
                      </a:r>
                    </a:p>
                  </a:txBody>
                  <a:tcPr marL="4258" marR="4258" marT="42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Dos campañas (3 meses)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En </a:t>
                      </a:r>
                      <a:b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porcentaje</a:t>
                      </a:r>
                      <a:b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%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Gerente de Ventas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7142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Volumen Programado</a:t>
                      </a:r>
                    </a:p>
                  </a:txBody>
                  <a:tcPr marL="4258" marR="4258" marT="425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2282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Efectividad en las Ventas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200000"/>
                        </a:lnSpc>
                      </a:pPr>
                      <a:r>
                        <a:rPr lang="es-ES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Volumen </a:t>
                      </a:r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Vendido</a:t>
                      </a:r>
                    </a:p>
                  </a:txBody>
                  <a:tcPr marL="4258" marR="4258" marT="425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s-ES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x100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4258" marR="4258" marT="42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Dos campañas (3 meses)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n </a:t>
                      </a:r>
                      <a:b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porcentaje</a:t>
                      </a:r>
                      <a:b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%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Gerente de Ventas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4964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0000"/>
                        </a:lnSpc>
                      </a:pPr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Volumen Planificado en Ventas</a:t>
                      </a:r>
                    </a:p>
                  </a:txBody>
                  <a:tcPr marL="4258" marR="4258" marT="425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22825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ficiencia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Uso de la capacidad instalada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200000"/>
                        </a:lnSpc>
                      </a:pPr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Volumen de Producción</a:t>
                      </a:r>
                    </a:p>
                  </a:txBody>
                  <a:tcPr marL="4258" marR="4258" marT="425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x100</a:t>
                      </a:r>
                    </a:p>
                  </a:txBody>
                  <a:tcPr marL="4258" marR="4258" marT="42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Dos campañas (3 meses)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n </a:t>
                      </a:r>
                      <a:b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porcentaje</a:t>
                      </a:r>
                      <a:b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%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Gerente de Ventas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82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Capacidad Instalada</a:t>
                      </a:r>
                    </a:p>
                  </a:txBody>
                  <a:tcPr marL="4258" marR="4258" marT="425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340145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s-ES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Calidad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Calidad de uso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Volumen Reclamado por Calidad</a:t>
                      </a:r>
                    </a:p>
                  </a:txBody>
                  <a:tcPr marL="4258" marR="4258" marT="425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200000"/>
                        </a:lnSpc>
                      </a:pPr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x100</a:t>
                      </a:r>
                    </a:p>
                  </a:txBody>
                  <a:tcPr marL="4258" marR="4258" marT="42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Dos campañas (3 meses)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n </a:t>
                      </a:r>
                      <a:b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porcentaje</a:t>
                      </a:r>
                      <a:b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%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G. </a:t>
                      </a:r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Ventas / Patronista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82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Volumen Total de Ventas</a:t>
                      </a:r>
                    </a:p>
                  </a:txBody>
                  <a:tcPr marL="4258" marR="4258" marT="425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340145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endimiento de calidad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Volumen de Producción Conforme</a:t>
                      </a:r>
                    </a:p>
                  </a:txBody>
                  <a:tcPr marL="4258" marR="4258" marT="425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x100</a:t>
                      </a:r>
                    </a:p>
                  </a:txBody>
                  <a:tcPr marL="4258" marR="4258" marT="42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Dos campañas (3 meses)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n </a:t>
                      </a:r>
                      <a:b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porcentaje</a:t>
                      </a:r>
                      <a:b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%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 dirty="0" err="1" smtClean="0">
                          <a:solidFill>
                            <a:srgbClr val="000000"/>
                          </a:solidFill>
                          <a:latin typeface="Arial"/>
                        </a:rPr>
                        <a:t>G.Ventas</a:t>
                      </a:r>
                      <a:r>
                        <a:rPr lang="es-ES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/ Patronista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82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Volumen Total Producido</a:t>
                      </a:r>
                    </a:p>
                  </a:txBody>
                  <a:tcPr marL="4258" marR="4258" marT="425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34014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Productividad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Productividad de la mano de obra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Volumen de Producción Conforme</a:t>
                      </a:r>
                    </a:p>
                  </a:txBody>
                  <a:tcPr marL="4258" marR="4258" marT="425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200000"/>
                        </a:lnSpc>
                      </a:pPr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x100</a:t>
                      </a:r>
                    </a:p>
                  </a:txBody>
                  <a:tcPr marL="4258" marR="4258" marT="42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Dos campañas (3 meses)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oneladas </a:t>
                      </a:r>
                      <a:b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por hh-trabajadas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G.Ventas </a:t>
                      </a:r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/ </a:t>
                      </a:r>
                      <a:r>
                        <a:rPr lang="pt-BR" sz="12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Patronista</a:t>
                      </a:r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/ Cortador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9705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Horas Hombre Trabajada</a:t>
                      </a:r>
                    </a:p>
                  </a:txBody>
                  <a:tcPr marL="4258" marR="4258" marT="425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34014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eguridad Industrial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Frecuencia de </a:t>
                      </a:r>
                      <a:r>
                        <a:rPr lang="es-ES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accidentes</a:t>
                      </a:r>
                      <a:r>
                        <a:rPr lang="es-ES" sz="1200" b="1" i="0" u="none" strike="noStrik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s-ES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laborales</a:t>
                      </a:r>
                      <a:endParaRPr lang="es-ES" sz="12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Accidentes con pérdida de tiempo</a:t>
                      </a:r>
                    </a:p>
                  </a:txBody>
                  <a:tcPr marL="4258" marR="4258" marT="425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x100</a:t>
                      </a:r>
                    </a:p>
                  </a:txBody>
                  <a:tcPr marL="4258" marR="4258" marT="425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Dos campañas (3 meses)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Número de accidentes por campaña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Gerente General</a:t>
                      </a:r>
                    </a:p>
                  </a:txBody>
                  <a:tcPr marL="4258" marR="4258" marT="42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82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Horas Hombre Trabajada</a:t>
                      </a:r>
                    </a:p>
                  </a:txBody>
                  <a:tcPr marL="4258" marR="4258" marT="425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3 Marcador de pie de página"/>
          <p:cNvSpPr txBox="1">
            <a:spLocks/>
          </p:cNvSpPr>
          <p:nvPr/>
        </p:nvSpPr>
        <p:spPr bwMode="auto"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r>
              <a:rPr lang="de-DE" sz="1200" b="1" i="1" dirty="0">
                <a:solidFill>
                  <a:schemeClr val="tx2"/>
                </a:solidFill>
              </a:rPr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7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Propuesta de mejora</a:t>
            </a:r>
          </a:p>
        </p:txBody>
      </p:sp>
      <p:sp>
        <p:nvSpPr>
          <p:cNvPr id="34819" name="Rectangle 11"/>
          <p:cNvSpPr>
            <a:spLocks noChangeArrowheads="1"/>
          </p:cNvSpPr>
          <p:nvPr/>
        </p:nvSpPr>
        <p:spPr bwMode="auto">
          <a:xfrm>
            <a:off x="323850" y="120491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s-ES" b="1"/>
              <a:t>Indicadores de Medición</a:t>
            </a:r>
          </a:p>
        </p:txBody>
      </p:sp>
      <p:graphicFrame>
        <p:nvGraphicFramePr>
          <p:cNvPr id="8" name="7 Tabla"/>
          <p:cNvGraphicFramePr>
            <a:graphicFrameLocks noGrp="1"/>
          </p:cNvGraphicFramePr>
          <p:nvPr/>
        </p:nvGraphicFramePr>
        <p:xfrm>
          <a:off x="627063" y="1720850"/>
          <a:ext cx="7918450" cy="4484688"/>
        </p:xfrm>
        <a:graphic>
          <a:graphicData uri="http://schemas.openxmlformats.org/drawingml/2006/table">
            <a:tbl>
              <a:tblPr/>
              <a:tblGrid>
                <a:gridCol w="1881607"/>
                <a:gridCol w="230278"/>
                <a:gridCol w="2050683"/>
                <a:gridCol w="118774"/>
                <a:gridCol w="318147"/>
                <a:gridCol w="133319"/>
                <a:gridCol w="387836"/>
                <a:gridCol w="133319"/>
                <a:gridCol w="318147"/>
                <a:gridCol w="105017"/>
                <a:gridCol w="484795"/>
                <a:gridCol w="327237"/>
                <a:gridCol w="387836"/>
                <a:gridCol w="97080"/>
                <a:gridCol w="318147"/>
                <a:gridCol w="105017"/>
                <a:gridCol w="521154"/>
              </a:tblGrid>
              <a:tr h="133396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Indicadores de Efectividad: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70317">
                <a:tc>
                  <a:txBody>
                    <a:bodyPr/>
                    <a:lstStyle/>
                    <a:p>
                      <a:pPr algn="l" fontAlgn="b"/>
                      <a:r>
                        <a:rPr lang="es-ES" sz="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S" sz="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4006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Efectividad uso de las instalaciones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Volumen Producido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x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00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x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0,00%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900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x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95,00%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33396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Volumen Programado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00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00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3520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4006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Efectividad en las ventas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Volumen Vendido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x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260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x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0,00%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00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x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3,68%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33396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Volumen Planificado en ventas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00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900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4104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40065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Indicadores de Eficiencia: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8451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4006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Uso de la capacidad Instalada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Volumen de Producción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x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00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x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90,00%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900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x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5,00%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33396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apacidad Instalada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00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00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33396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ndicadores de Calidad: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3644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4006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Rendimiento de calidad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Volumen de Producción Conforme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x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798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x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99,89%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900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x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0,00%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33396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Volumen Total Producido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00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900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6957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4006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alidad de uso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Volumen reclamado por calidad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x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x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,16%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x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,00%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33396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Volumen Total de Ventas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260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260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33396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ndicadores de Productividad: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4006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Productividad de la mano de obra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Volumen de Producción Conforme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x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798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97,72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endParaRPr lang="es-ES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900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3,26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33396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Horas Hombre Trabajada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4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4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33396">
                <a:tc gridSpan="2">
                  <a:txBody>
                    <a:bodyPr/>
                    <a:lstStyle/>
                    <a:p>
                      <a:pPr algn="l" fontAlgn="b"/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Indicadores de Seguridad Industrial: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3339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ES" sz="5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4006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recuencia de accidentes laborales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Accidentes con pérdida de tiempo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x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x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,54%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x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=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%</a:t>
                      </a:r>
                    </a:p>
                  </a:txBody>
                  <a:tcPr marL="6471" marR="6471" marT="647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133396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Horas Hombre Trabajada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4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4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133396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471" marR="6471" marT="64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0" name="3 Marcador de pie de página"/>
          <p:cNvSpPr txBox="1">
            <a:spLocks/>
          </p:cNvSpPr>
          <p:nvPr/>
        </p:nvSpPr>
        <p:spPr bwMode="auto"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r>
              <a:rPr lang="de-DE" sz="1200" b="1" i="1" dirty="0">
                <a:solidFill>
                  <a:schemeClr val="tx2"/>
                </a:solidFill>
              </a:rPr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7794" name="Rectangle 2"/>
          <p:cNvSpPr>
            <a:spLocks noGrp="1" noChangeArrowheads="1"/>
          </p:cNvSpPr>
          <p:nvPr>
            <p:ph type="title"/>
          </p:nvPr>
        </p:nvSpPr>
        <p:spPr>
          <a:xfrm>
            <a:off x="314325" y="190500"/>
            <a:ext cx="8520113" cy="600075"/>
          </a:xfrm>
        </p:spPr>
        <p:txBody>
          <a:bodyPr/>
          <a:lstStyle/>
          <a:p>
            <a:pPr eaLnBrk="1" hangingPunct="1">
              <a:defRPr/>
            </a:pPr>
            <a:r>
              <a:rPr lang="de-DE" dirty="0" smtClean="0"/>
              <a:t>Conclusiones </a:t>
            </a:r>
          </a:p>
        </p:txBody>
      </p:sp>
      <p:sp>
        <p:nvSpPr>
          <p:cNvPr id="35843" name="Rectangle 5"/>
          <p:cNvSpPr>
            <a:spLocks noChangeArrowheads="1"/>
          </p:cNvSpPr>
          <p:nvPr/>
        </p:nvSpPr>
        <p:spPr bwMode="auto">
          <a:xfrm>
            <a:off x="485775" y="1444625"/>
            <a:ext cx="8120063" cy="321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 algn="just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C" sz="1600"/>
              <a:t>Análisis de riesgo</a:t>
            </a:r>
          </a:p>
          <a:p>
            <a:pPr marL="190500" indent="-190500" algn="just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s-ES" sz="1600"/>
          </a:p>
          <a:p>
            <a:pPr marL="190500" indent="-190500" algn="just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C" sz="1600"/>
              <a:t>Manuales de políticas y de procedimientos</a:t>
            </a:r>
          </a:p>
          <a:p>
            <a:pPr marL="190500" indent="-190500" algn="just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s-ES" sz="1600"/>
          </a:p>
          <a:p>
            <a:pPr marL="190500" indent="-190500" algn="just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C" sz="1600"/>
              <a:t>Cinco S</a:t>
            </a:r>
          </a:p>
          <a:p>
            <a:pPr marL="190500" indent="-190500" algn="just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s-ES" sz="1600"/>
          </a:p>
          <a:p>
            <a:pPr marL="190500" indent="-190500" algn="just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C" sz="1600"/>
              <a:t>Indicadores</a:t>
            </a:r>
            <a:endParaRPr lang="es-ES" sz="1600"/>
          </a:p>
        </p:txBody>
      </p:sp>
      <p:sp>
        <p:nvSpPr>
          <p:cNvPr id="7" name="3 Marcador de pie de página"/>
          <p:cNvSpPr txBox="1">
            <a:spLocks/>
          </p:cNvSpPr>
          <p:nvPr/>
        </p:nvSpPr>
        <p:spPr bwMode="auto"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r>
              <a:rPr lang="de-DE" sz="1200" b="1" i="1" dirty="0">
                <a:solidFill>
                  <a:schemeClr val="tx2"/>
                </a:solidFill>
              </a:rPr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7794" name="Rectangle 2"/>
          <p:cNvSpPr>
            <a:spLocks noGrp="1" noChangeArrowheads="1"/>
          </p:cNvSpPr>
          <p:nvPr>
            <p:ph type="title"/>
          </p:nvPr>
        </p:nvSpPr>
        <p:spPr>
          <a:xfrm>
            <a:off x="314325" y="190500"/>
            <a:ext cx="8520113" cy="600075"/>
          </a:xfrm>
        </p:spPr>
        <p:txBody>
          <a:bodyPr/>
          <a:lstStyle/>
          <a:p>
            <a:pPr eaLnBrk="1" hangingPunct="1">
              <a:defRPr/>
            </a:pPr>
            <a:r>
              <a:rPr lang="de-DE" dirty="0" smtClean="0"/>
              <a:t>Recomendaciones </a:t>
            </a:r>
          </a:p>
        </p:txBody>
      </p:sp>
      <p:sp>
        <p:nvSpPr>
          <p:cNvPr id="36867" name="Rectangle 5"/>
          <p:cNvSpPr>
            <a:spLocks noChangeArrowheads="1"/>
          </p:cNvSpPr>
          <p:nvPr/>
        </p:nvSpPr>
        <p:spPr bwMode="auto">
          <a:xfrm>
            <a:off x="304800" y="1530350"/>
            <a:ext cx="8120063" cy="407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 algn="just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C" sz="1600"/>
              <a:t>Manual de Organización</a:t>
            </a:r>
          </a:p>
          <a:p>
            <a:pPr marL="190500" indent="-190500" algn="just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s-ES" sz="1600"/>
          </a:p>
          <a:p>
            <a:pPr marL="190500" indent="-190500" algn="just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C" sz="1600"/>
              <a:t>Investigación de mercado</a:t>
            </a:r>
            <a:endParaRPr lang="es-ES" sz="1600"/>
          </a:p>
          <a:p>
            <a:pPr marL="190500" indent="-190500" algn="just" eaLnBrk="1" hangingPunct="1">
              <a:spcBef>
                <a:spcPct val="40000"/>
              </a:spcBef>
              <a:buClr>
                <a:schemeClr val="accent1"/>
              </a:buClr>
            </a:pPr>
            <a:endParaRPr lang="es-ES" sz="1600"/>
          </a:p>
          <a:p>
            <a:pPr marL="190500" indent="-190500" algn="just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600"/>
              <a:t>Importación de telas</a:t>
            </a:r>
          </a:p>
          <a:p>
            <a:pPr marL="190500" indent="-190500" algn="just" eaLnBrk="1" hangingPunct="1">
              <a:spcBef>
                <a:spcPct val="40000"/>
              </a:spcBef>
              <a:buClr>
                <a:schemeClr val="accent1"/>
              </a:buClr>
            </a:pPr>
            <a:endParaRPr lang="es-ES" sz="1600"/>
          </a:p>
          <a:p>
            <a:pPr marL="190500" indent="-190500" algn="just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C" sz="1600"/>
              <a:t>Campañas de limpieza de la Cinco</a:t>
            </a:r>
            <a:endParaRPr lang="es-ES" sz="1600"/>
          </a:p>
        </p:txBody>
      </p:sp>
      <p:sp>
        <p:nvSpPr>
          <p:cNvPr id="5" name="3 Marcador de pie de página"/>
          <p:cNvSpPr txBox="1">
            <a:spLocks/>
          </p:cNvSpPr>
          <p:nvPr/>
        </p:nvSpPr>
        <p:spPr bwMode="auto"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r>
              <a:rPr lang="de-DE" sz="1200" b="1" i="1" dirty="0">
                <a:solidFill>
                  <a:schemeClr val="tx2"/>
                </a:solidFill>
              </a:rPr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1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0" r:id="rId10" imgW="0" imgH="0" progId="TCLayout.ActiveDocument">
              <p:embed/>
            </p:oleObj>
          </a:graphicData>
        </a:graphic>
      </p:graphicFrame>
      <p:sp>
        <p:nvSpPr>
          <p:cNvPr id="2051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2425" y="4829175"/>
            <a:ext cx="3943350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90000" rIns="72000" bIns="90000"/>
          <a:lstStyle/>
          <a:p>
            <a:pPr marL="177800" indent="-177800" defTabSz="801688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/>
              <a:t>Noemí Elizabeth Lavid Cedeño.</a:t>
            </a:r>
          </a:p>
          <a:p>
            <a:pPr marL="177800" indent="-177800" defTabSz="801688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s-ES" sz="1400"/>
          </a:p>
          <a:p>
            <a:pPr marL="177800" indent="-177800" defTabSz="801688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400"/>
              <a:t>María Verónica Ruiz Palacios.</a:t>
            </a:r>
          </a:p>
        </p:txBody>
      </p:sp>
      <p:sp>
        <p:nvSpPr>
          <p:cNvPr id="2052" name="Line 9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452438" y="3795713"/>
            <a:ext cx="3114675" cy="0"/>
          </a:xfrm>
          <a:prstGeom prst="line">
            <a:avLst/>
          </a:prstGeom>
          <a:noFill/>
          <a:ln w="12700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2053" name="Text Box 10">
            <a:hlinkClick r:id="rId11"/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38138" y="4414838"/>
            <a:ext cx="3695700" cy="3698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ES" b="1"/>
              <a:t>Autoras</a:t>
            </a:r>
          </a:p>
        </p:txBody>
      </p:sp>
      <p:sp>
        <p:nvSpPr>
          <p:cNvPr id="6152" name="Rectangle 1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86288" y="1784350"/>
            <a:ext cx="3943350" cy="350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90000" rIns="72000" bIns="90000"/>
          <a:lstStyle/>
          <a:p>
            <a:pPr marL="177800" indent="-177800" algn="just" defTabSz="801688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400" dirty="0"/>
              <a:t>A la Ing. Diana Montalvo Barrera, por su valiosa contribución como guía en el desarrollo del presente proyecto de tesis.</a:t>
            </a:r>
          </a:p>
          <a:p>
            <a:pPr algn="just">
              <a:defRPr/>
            </a:pPr>
            <a:endParaRPr lang="es-ES" sz="1400" dirty="0"/>
          </a:p>
          <a:p>
            <a:pPr marL="177800" indent="-177800" algn="just" defTabSz="801688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400" dirty="0"/>
              <a:t>Al Ing. Dalton Noboa Macías, por su invaluable apoyo en la elaboración de este proyecto de tesis.</a:t>
            </a:r>
          </a:p>
          <a:p>
            <a:pPr marL="177800" indent="-177800" algn="just" defTabSz="801688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ES" sz="1400" dirty="0"/>
          </a:p>
          <a:p>
            <a:pPr marL="177800" indent="-177800" algn="just" defTabSz="801688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" sz="1400" dirty="0"/>
              <a:t>A la Ing. María </a:t>
            </a:r>
            <a:r>
              <a:rPr lang="es-ES" sz="1400" dirty="0" err="1"/>
              <a:t>Nela</a:t>
            </a:r>
            <a:r>
              <a:rPr lang="es-ES" sz="1400" dirty="0"/>
              <a:t> </a:t>
            </a:r>
            <a:r>
              <a:rPr lang="es-ES" sz="1400" dirty="0" err="1"/>
              <a:t>Pastuizaca</a:t>
            </a:r>
            <a:r>
              <a:rPr lang="es-ES" sz="1400" dirty="0"/>
              <a:t>, por su gran aporte de conocimientos para el mejoramiento de este proyecto de tesis.</a:t>
            </a:r>
            <a:r>
              <a:rPr lang="en-US" sz="1400" dirty="0"/>
              <a:t/>
            </a:r>
            <a:br>
              <a:rPr lang="en-US" sz="1400" dirty="0"/>
            </a:br>
            <a:endParaRPr lang="de-DE" sz="1400" dirty="0"/>
          </a:p>
        </p:txBody>
      </p:sp>
      <p:sp>
        <p:nvSpPr>
          <p:cNvPr id="2055" name="Rectangle 1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565650" y="1379538"/>
            <a:ext cx="2057400" cy="3698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ES" b="1"/>
              <a:t>Agradecimientos</a:t>
            </a:r>
          </a:p>
        </p:txBody>
      </p:sp>
      <p:sp>
        <p:nvSpPr>
          <p:cNvPr id="2056" name="Rectangle 13">
            <a:hlinkClick r:id="rId12"/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533900" y="5100638"/>
            <a:ext cx="2066925" cy="4000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C"/>
          </a:p>
        </p:txBody>
      </p:sp>
      <p:sp>
        <p:nvSpPr>
          <p:cNvPr id="11" name="3 Marcador de pie de página"/>
          <p:cNvSpPr txBox="1">
            <a:spLocks/>
          </p:cNvSpPr>
          <p:nvPr/>
        </p:nvSpPr>
        <p:spPr bwMode="auto"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r>
              <a:rPr lang="de-DE" sz="1200" b="1" i="1" dirty="0">
                <a:solidFill>
                  <a:schemeClr val="tx2"/>
                </a:solidFill>
              </a:rPr>
              <a:t>Ing. Auditoría y Contaduría Pública Autorizada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606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Empresa</a:t>
            </a:r>
          </a:p>
        </p:txBody>
      </p:sp>
      <p:sp>
        <p:nvSpPr>
          <p:cNvPr id="8195" name="Rectangle 7"/>
          <p:cNvSpPr>
            <a:spLocks noGrp="1" noChangeArrowheads="1"/>
          </p:cNvSpPr>
          <p:nvPr>
            <p:ph type="body" sz="half" idx="1"/>
          </p:nvPr>
        </p:nvSpPr>
        <p:spPr>
          <a:xfrm>
            <a:off x="328613" y="1797050"/>
            <a:ext cx="7847012" cy="1136650"/>
          </a:xfrm>
        </p:spPr>
        <p:txBody>
          <a:bodyPr/>
          <a:lstStyle/>
          <a:p>
            <a:pPr algn="just"/>
            <a:r>
              <a:rPr lang="es-ES" sz="1800" smtClean="0"/>
              <a:t>La compañía posee un modelo de estructura lineal.</a:t>
            </a:r>
            <a:r>
              <a:rPr lang="es-EC" sz="1800" smtClean="0"/>
              <a:t> </a:t>
            </a:r>
          </a:p>
          <a:p>
            <a:pPr algn="just">
              <a:buFont typeface="Wingdings" pitchFamily="2" charset="2"/>
              <a:buNone/>
            </a:pPr>
            <a:r>
              <a:rPr lang="es-ES" sz="1800" smtClean="0"/>
              <a:t>	4 áreas: Producción, Ventas, Diseño y Contabilidad</a:t>
            </a:r>
            <a:endParaRPr lang="es-EC" sz="1800" smtClean="0"/>
          </a:p>
        </p:txBody>
      </p:sp>
      <p:sp>
        <p:nvSpPr>
          <p:cNvPr id="8196" name="Rectangle 11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s-ES" b="1">
                <a:solidFill>
                  <a:schemeClr val="accent1"/>
                </a:solidFill>
              </a:rPr>
              <a:t>Modelo de Estructura Organizacional</a:t>
            </a:r>
            <a:endParaRPr lang="es-EC" b="1">
              <a:solidFill>
                <a:schemeClr val="accent1"/>
              </a:solidFill>
            </a:endParaRPr>
          </a:p>
        </p:txBody>
      </p:sp>
      <p:pic>
        <p:nvPicPr>
          <p:cNvPr id="8197" name="Imagen 5"/>
          <p:cNvPicPr>
            <a:picLocks noChangeAspect="1" noChangeArrowheads="1"/>
          </p:cNvPicPr>
          <p:nvPr/>
        </p:nvPicPr>
        <p:blipFill>
          <a:blip r:embed="rId3"/>
          <a:srcRect l="1070" t="2203" r="1414"/>
          <a:stretch>
            <a:fillRect/>
          </a:stretch>
        </p:blipFill>
        <p:spPr bwMode="auto">
          <a:xfrm>
            <a:off x="1282700" y="2701925"/>
            <a:ext cx="6346825" cy="342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3 Marcador de pie de página"/>
          <p:cNvSpPr txBox="1">
            <a:spLocks/>
          </p:cNvSpPr>
          <p:nvPr/>
        </p:nvSpPr>
        <p:spPr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de-DE" sz="1200" b="1" i="1" dirty="0"/>
              <a:t>Ing. Auditoría y Contaduría Pública Autorizada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Marco Teórico</a:t>
            </a:r>
          </a:p>
        </p:txBody>
      </p:sp>
      <p:sp>
        <p:nvSpPr>
          <p:cNvPr id="9219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342900" y="1979613"/>
            <a:ext cx="8480425" cy="3384550"/>
          </a:xfrm>
          <a:noFill/>
        </p:spPr>
        <p:txBody>
          <a:bodyPr/>
          <a:lstStyle/>
          <a:p>
            <a:pPr algn="just"/>
            <a:r>
              <a:rPr lang="es-ES" sz="2200" smtClean="0"/>
              <a:t>Proceso donde se analizan las causas del comportamiento de la organización.</a:t>
            </a:r>
          </a:p>
          <a:p>
            <a:pPr algn="just"/>
            <a:endParaRPr lang="es-ES" sz="2200" smtClean="0"/>
          </a:p>
          <a:p>
            <a:pPr algn="just"/>
            <a:r>
              <a:rPr lang="es-ES" sz="2200" smtClean="0"/>
              <a:t>Cumplimiento de metas a través de una mejora de estándares, </a:t>
            </a:r>
          </a:p>
          <a:p>
            <a:pPr algn="just">
              <a:buFont typeface="Wingdings" pitchFamily="2" charset="2"/>
              <a:buNone/>
            </a:pPr>
            <a:r>
              <a:rPr lang="es-ES" sz="2200" smtClean="0"/>
              <a:t>                        </a:t>
            </a:r>
          </a:p>
          <a:p>
            <a:pPr algn="just"/>
            <a:r>
              <a:rPr lang="es-ES" sz="2200" smtClean="0"/>
              <a:t>Las empresas se diseñan con un planteamiento estratégico</a:t>
            </a:r>
          </a:p>
          <a:p>
            <a:pPr eaLnBrk="1" hangingPunct="1">
              <a:buFont typeface="Wingdings" pitchFamily="2" charset="2"/>
              <a:buNone/>
            </a:pPr>
            <a:endParaRPr lang="de-DE" sz="2200" smtClean="0"/>
          </a:p>
        </p:txBody>
      </p:sp>
      <p:sp>
        <p:nvSpPr>
          <p:cNvPr id="9220" name="Rectangle 12"/>
          <p:cNvSpPr>
            <a:spLocks noChangeArrowheads="1"/>
          </p:cNvSpPr>
          <p:nvPr/>
        </p:nvSpPr>
        <p:spPr bwMode="auto">
          <a:xfrm>
            <a:off x="342900" y="4281488"/>
            <a:ext cx="8480425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s-ES" sz="1600"/>
          </a:p>
        </p:txBody>
      </p:sp>
      <p:sp>
        <p:nvSpPr>
          <p:cNvPr id="9221" name="Rectangle 13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es-ES" sz="2000" b="1">
                <a:solidFill>
                  <a:schemeClr val="accent1"/>
                </a:solidFill>
              </a:rPr>
              <a:t>Concepto de un Sistema de Control de Gestión</a:t>
            </a:r>
            <a:endParaRPr lang="de-DE" sz="2000" b="1">
              <a:solidFill>
                <a:schemeClr val="accent1"/>
              </a:solidFill>
            </a:endParaRPr>
          </a:p>
        </p:txBody>
      </p:sp>
      <p:sp>
        <p:nvSpPr>
          <p:cNvPr id="9" name="3 Marcador de pie de página"/>
          <p:cNvSpPr txBox="1">
            <a:spLocks/>
          </p:cNvSpPr>
          <p:nvPr/>
        </p:nvSpPr>
        <p:spPr bwMode="auto"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r>
              <a:rPr lang="de-DE" sz="1200" b="1" i="1">
                <a:solidFill>
                  <a:schemeClr val="tx2"/>
                </a:solidFill>
              </a:rPr>
              <a:t>Ing. Auditoría y Contaduría Pública Autorizada</a:t>
            </a:r>
            <a:endParaRPr lang="de-DE" sz="1200" b="1" i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36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Marco Teórico</a:t>
            </a:r>
          </a:p>
        </p:txBody>
      </p:sp>
      <p:sp>
        <p:nvSpPr>
          <p:cNvPr id="10243" name="Rectangle 5"/>
          <p:cNvSpPr>
            <a:spLocks noChangeArrowheads="1"/>
          </p:cNvSpPr>
          <p:nvPr/>
        </p:nvSpPr>
        <p:spPr bwMode="auto">
          <a:xfrm>
            <a:off x="4449763" y="2306638"/>
            <a:ext cx="4384675" cy="311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/>
              <a:t>Clasificación (Seiri): Separar Innecesarios</a:t>
            </a:r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/>
              <a:t>Orden (Seiton): Situar Necesarios</a:t>
            </a:r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/>
              <a:t>Limpieza (Seiso): Suprimir Suciedad</a:t>
            </a:r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/>
              <a:t>Estandarización (Seiketsu): Señalizar Anomalías</a:t>
            </a:r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/>
              <a:t>Mantenimiento de la disciplina (Shitsuke): Seguir Mejorando</a:t>
            </a:r>
            <a:r>
              <a:rPr lang="en-US"/>
              <a:t>.</a:t>
            </a:r>
          </a:p>
        </p:txBody>
      </p:sp>
      <p:sp>
        <p:nvSpPr>
          <p:cNvPr id="10244" name="Rectangle 8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es-ES" b="1">
                <a:solidFill>
                  <a:schemeClr val="accent1"/>
                </a:solidFill>
              </a:rPr>
              <a:t>Cinco S</a:t>
            </a:r>
            <a:endParaRPr lang="de-DE" b="1">
              <a:solidFill>
                <a:schemeClr val="accent1"/>
              </a:solidFill>
            </a:endParaRPr>
          </a:p>
        </p:txBody>
      </p:sp>
      <p:pic>
        <p:nvPicPr>
          <p:cNvPr id="10245" name="Picture 2"/>
          <p:cNvPicPr>
            <a:picLocks noChangeAspect="1" noChangeArrowheads="1"/>
          </p:cNvPicPr>
          <p:nvPr/>
        </p:nvPicPr>
        <p:blipFill>
          <a:blip r:embed="rId4"/>
          <a:srcRect b="3485"/>
          <a:stretch>
            <a:fillRect/>
          </a:stretch>
        </p:blipFill>
        <p:spPr bwMode="auto">
          <a:xfrm>
            <a:off x="341313" y="1938338"/>
            <a:ext cx="3817937" cy="3384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3 Marcador de pie de página"/>
          <p:cNvSpPr txBox="1">
            <a:spLocks/>
          </p:cNvSpPr>
          <p:nvPr/>
        </p:nvSpPr>
        <p:spPr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de-DE" sz="1200" b="1" i="1" dirty="0"/>
              <a:t>Ing. Auditoría y Contaduría Pública Autorizada</a:t>
            </a:r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Área de estudio</a:t>
            </a:r>
          </a:p>
        </p:txBody>
      </p:sp>
      <p:sp>
        <p:nvSpPr>
          <p:cNvPr id="1126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342900" y="1979613"/>
            <a:ext cx="8480425" cy="4052887"/>
          </a:xfrm>
          <a:noFill/>
        </p:spPr>
        <p:txBody>
          <a:bodyPr/>
          <a:lstStyle/>
          <a:p>
            <a:pPr algn="just"/>
            <a:r>
              <a:rPr lang="es-ES" sz="1800" smtClean="0"/>
              <a:t>El diseño de las prendas</a:t>
            </a:r>
          </a:p>
          <a:p>
            <a:pPr algn="just"/>
            <a:r>
              <a:rPr lang="es-ES" sz="1800" smtClean="0"/>
              <a:t>Fichas de muestra</a:t>
            </a:r>
          </a:p>
          <a:p>
            <a:pPr algn="just"/>
            <a:r>
              <a:rPr lang="es-ES" sz="1800" smtClean="0"/>
              <a:t>Orden de Trazo</a:t>
            </a:r>
          </a:p>
          <a:p>
            <a:pPr algn="just"/>
            <a:r>
              <a:rPr lang="es-ES" sz="1800" smtClean="0"/>
              <a:t>Control de Corte</a:t>
            </a:r>
          </a:p>
          <a:p>
            <a:pPr algn="just"/>
            <a:r>
              <a:rPr lang="es-ES" sz="1800" smtClean="0"/>
              <a:t>Patronista</a:t>
            </a:r>
          </a:p>
          <a:p>
            <a:pPr algn="just"/>
            <a:r>
              <a:rPr lang="es-ES" sz="1800" smtClean="0"/>
              <a:t>Catálogo de Ropa y Sesión Fotográfica</a:t>
            </a:r>
          </a:p>
          <a:p>
            <a:pPr algn="just"/>
            <a:r>
              <a:rPr lang="es-ES" sz="1800" smtClean="0"/>
              <a:t>Cortador</a:t>
            </a:r>
          </a:p>
          <a:p>
            <a:pPr algn="just"/>
            <a:r>
              <a:rPr lang="es-ES" sz="1800" smtClean="0"/>
              <a:t>Confección</a:t>
            </a:r>
          </a:p>
          <a:p>
            <a:pPr algn="just"/>
            <a:r>
              <a:rPr lang="es-ES" sz="1800" smtClean="0"/>
              <a:t>Control de Calidad de Prendas</a:t>
            </a:r>
          </a:p>
          <a:p>
            <a:pPr algn="just">
              <a:buFont typeface="Wingdings" pitchFamily="2" charset="2"/>
              <a:buNone/>
            </a:pPr>
            <a:endParaRPr lang="es-ES" sz="1600" smtClean="0"/>
          </a:p>
        </p:txBody>
      </p:sp>
      <p:sp>
        <p:nvSpPr>
          <p:cNvPr id="11268" name="Rectangle 12"/>
          <p:cNvSpPr>
            <a:spLocks noChangeArrowheads="1"/>
          </p:cNvSpPr>
          <p:nvPr/>
        </p:nvSpPr>
        <p:spPr bwMode="auto">
          <a:xfrm>
            <a:off x="342900" y="4281488"/>
            <a:ext cx="8480425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s-ES" sz="1600"/>
          </a:p>
        </p:txBody>
      </p:sp>
      <p:sp>
        <p:nvSpPr>
          <p:cNvPr id="11269" name="Rectangle 13"/>
          <p:cNvSpPr>
            <a:spLocks noChangeArrowheads="1"/>
          </p:cNvSpPr>
          <p:nvPr/>
        </p:nvSpPr>
        <p:spPr bwMode="auto">
          <a:xfrm>
            <a:off x="323850" y="1287463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es-ES" sz="2000" b="1">
                <a:solidFill>
                  <a:schemeClr val="accent1"/>
                </a:solidFill>
              </a:rPr>
              <a:t>Proceso de Producción de la empresa</a:t>
            </a:r>
            <a:endParaRPr lang="de-DE" sz="2000" b="1">
              <a:solidFill>
                <a:schemeClr val="accent1"/>
              </a:solidFill>
            </a:endParaRPr>
          </a:p>
        </p:txBody>
      </p:sp>
      <p:sp>
        <p:nvSpPr>
          <p:cNvPr id="9" name="3 Marcador de pie de página"/>
          <p:cNvSpPr txBox="1">
            <a:spLocks/>
          </p:cNvSpPr>
          <p:nvPr/>
        </p:nvSpPr>
        <p:spPr bwMode="auto"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r>
              <a:rPr lang="de-DE" sz="1200" b="1" i="1">
                <a:solidFill>
                  <a:schemeClr val="tx2"/>
                </a:solidFill>
              </a:rPr>
              <a:t>Ing. Auditoría y Contaduría Pública Autorizada</a:t>
            </a:r>
            <a:endParaRPr lang="de-DE" sz="1200" b="1" i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r:id="rId4" imgW="0" imgH="0" progId="TCLayout.ActiveDocument">
              <p:embed/>
            </p:oleObj>
          </a:graphicData>
        </a:graphic>
      </p:graphicFrame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/>
          <a:srcRect l="4955" t="22546" r="14771" b="4880"/>
          <a:stretch>
            <a:fillRect/>
          </a:stretch>
        </p:blipFill>
        <p:spPr bwMode="auto">
          <a:xfrm>
            <a:off x="0" y="0"/>
            <a:ext cx="912336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6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s-ES" dirty="0" smtClean="0"/>
              <a:t>Situación actual de la empresa </a:t>
            </a:r>
            <a:endParaRPr lang="de-DE" dirty="0" smtClean="0"/>
          </a:p>
        </p:txBody>
      </p:sp>
      <p:sp>
        <p:nvSpPr>
          <p:cNvPr id="12291" name="Rectangle 3"/>
          <p:cNvSpPr>
            <a:spLocks noChangeArrowheads="1"/>
          </p:cNvSpPr>
          <p:nvPr/>
        </p:nvSpPr>
        <p:spPr bwMode="gray">
          <a:xfrm>
            <a:off x="346075" y="1911350"/>
            <a:ext cx="8488363" cy="376238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pPr defTabSz="801688"/>
            <a:r>
              <a:rPr lang="es-ES" b="1">
                <a:solidFill>
                  <a:schemeClr val="bg1"/>
                </a:solidFill>
              </a:rPr>
              <a:t>Problemas en el Área Administrativa</a:t>
            </a:r>
          </a:p>
        </p:txBody>
      </p:sp>
      <p:sp>
        <p:nvSpPr>
          <p:cNvPr id="12292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342900" y="2398713"/>
            <a:ext cx="8480425" cy="1039812"/>
          </a:xfrm>
          <a:noFill/>
        </p:spPr>
        <p:txBody>
          <a:bodyPr/>
          <a:lstStyle/>
          <a:p>
            <a:pPr eaLnBrk="1" hangingPunct="1"/>
            <a:r>
              <a:rPr lang="en-US" sz="1600" smtClean="0"/>
              <a:t>Delegación de funciones</a:t>
            </a:r>
          </a:p>
          <a:p>
            <a:pPr eaLnBrk="1" hangingPunct="1"/>
            <a:r>
              <a:rPr lang="en-US" sz="1600" smtClean="0"/>
              <a:t>Comunicación </a:t>
            </a:r>
          </a:p>
          <a:p>
            <a:pPr eaLnBrk="1" hangingPunct="1"/>
            <a:r>
              <a:rPr lang="en-US" sz="1600" smtClean="0"/>
              <a:t>Decisiones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sz="1600" smtClean="0"/>
              <a:t>. </a:t>
            </a:r>
            <a:endParaRPr lang="de-DE" sz="1600" smtClean="0"/>
          </a:p>
          <a:p>
            <a:pPr eaLnBrk="1" hangingPunct="1">
              <a:buFont typeface="Wingdings" pitchFamily="2" charset="2"/>
              <a:buNone/>
            </a:pPr>
            <a:endParaRPr lang="de-DE" sz="1600" smtClean="0"/>
          </a:p>
        </p:txBody>
      </p:sp>
      <p:sp>
        <p:nvSpPr>
          <p:cNvPr id="12293" name="Rectangle 11"/>
          <p:cNvSpPr>
            <a:spLocks noChangeArrowheads="1"/>
          </p:cNvSpPr>
          <p:nvPr/>
        </p:nvSpPr>
        <p:spPr bwMode="gray">
          <a:xfrm>
            <a:off x="346075" y="3479800"/>
            <a:ext cx="8488363" cy="376238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pPr defTabSz="801688"/>
            <a:r>
              <a:rPr lang="de-DE" b="1">
                <a:solidFill>
                  <a:schemeClr val="bg1"/>
                </a:solidFill>
              </a:rPr>
              <a:t>Problemas en el Área de Producción</a:t>
            </a:r>
          </a:p>
        </p:txBody>
      </p:sp>
      <p:sp>
        <p:nvSpPr>
          <p:cNvPr id="12294" name="Rectangle 12"/>
          <p:cNvSpPr>
            <a:spLocks noChangeArrowheads="1"/>
          </p:cNvSpPr>
          <p:nvPr/>
        </p:nvSpPr>
        <p:spPr bwMode="auto">
          <a:xfrm>
            <a:off x="342900" y="3981450"/>
            <a:ext cx="8480425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</a:pPr>
            <a:r>
              <a:rPr lang="en-US" sz="1600" b="1"/>
              <a:t>Internos</a:t>
            </a:r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/>
              <a:t>Diseño y Producción de Prendas</a:t>
            </a:r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/>
              <a:t>Catálogo de ropa</a:t>
            </a:r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</a:pPr>
            <a:r>
              <a:rPr lang="en-US" sz="1600" b="1"/>
              <a:t>Externos</a:t>
            </a:r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600"/>
              <a:t>Catálogo de ropa</a:t>
            </a:r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s-ES" sz="1600"/>
              <a:t>Confección de prendas</a:t>
            </a:r>
            <a:endParaRPr lang="de-DE" sz="1600"/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de-DE" sz="1600"/>
          </a:p>
        </p:txBody>
      </p:sp>
      <p:sp>
        <p:nvSpPr>
          <p:cNvPr id="12295" name="Rectangle 13"/>
          <p:cNvSpPr>
            <a:spLocks noChangeArrowheads="1"/>
          </p:cNvSpPr>
          <p:nvPr/>
        </p:nvSpPr>
        <p:spPr bwMode="auto">
          <a:xfrm>
            <a:off x="323850" y="1287463"/>
            <a:ext cx="7045325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es-ES" b="1">
                <a:solidFill>
                  <a:schemeClr val="accent1"/>
                </a:solidFill>
              </a:rPr>
              <a:t>Principales problemas que afectan a la empresa</a:t>
            </a:r>
            <a:endParaRPr lang="de-DE" b="1">
              <a:solidFill>
                <a:schemeClr val="accent1"/>
              </a:solidFill>
            </a:endParaRPr>
          </a:p>
        </p:txBody>
      </p:sp>
      <p:sp>
        <p:nvSpPr>
          <p:cNvPr id="10" name="3 Marcador de pie de página"/>
          <p:cNvSpPr txBox="1">
            <a:spLocks/>
          </p:cNvSpPr>
          <p:nvPr/>
        </p:nvSpPr>
        <p:spPr>
          <a:xfrm>
            <a:off x="5281613" y="6223000"/>
            <a:ext cx="3575050" cy="3683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de-DE" sz="1200" b="1" i="1" dirty="0"/>
              <a:t>Ing. Auditoría y Contaduría Pública Autorizada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KE-OFF DISPLAYTYPE" val="0"/>
  <p:tag name="THINKCELLUNDODONOTDELETE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XJJ1_kuyUudXPkosvK9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LZIllbaOEGUnFz4zi2W2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578hTQpVESNYuVpLYcgg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V88ooqF0yd23c.cVWe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xkx8g.K_E.iEGAWBUwT8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FP0_DXWeEmiCuHVOhml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82740"/>
      </a:dk2>
      <a:lt2>
        <a:srgbClr val="BE0009"/>
      </a:lt2>
      <a:accent1>
        <a:srgbClr val="1C4C74"/>
      </a:accent1>
      <a:accent2>
        <a:srgbClr val="2C6D92"/>
      </a:accent2>
      <a:accent3>
        <a:srgbClr val="FFFFFF"/>
      </a:accent3>
      <a:accent4>
        <a:srgbClr val="000000"/>
      </a:accent4>
      <a:accent5>
        <a:srgbClr val="ABB2BC"/>
      </a:accent5>
      <a:accent6>
        <a:srgbClr val="276284"/>
      </a:accent6>
      <a:hlink>
        <a:srgbClr val="4797B9"/>
      </a:hlink>
      <a:folHlink>
        <a:srgbClr val="65C3E3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82740"/>
        </a:dk2>
        <a:lt2>
          <a:srgbClr val="BE0009"/>
        </a:lt2>
        <a:accent1>
          <a:srgbClr val="1C4C74"/>
        </a:accent1>
        <a:accent2>
          <a:srgbClr val="2C6D92"/>
        </a:accent2>
        <a:accent3>
          <a:srgbClr val="FFFFFF"/>
        </a:accent3>
        <a:accent4>
          <a:srgbClr val="000000"/>
        </a:accent4>
        <a:accent5>
          <a:srgbClr val="ABB2BC"/>
        </a:accent5>
        <a:accent6>
          <a:srgbClr val="276284"/>
        </a:accent6>
        <a:hlink>
          <a:srgbClr val="4797B9"/>
        </a:hlink>
        <a:folHlink>
          <a:srgbClr val="65C3E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70</TotalTime>
  <Words>2189</Words>
  <Application>Microsoft Office PowerPoint</Application>
  <PresentationFormat>Presentación en pantalla (4:3)</PresentationFormat>
  <Paragraphs>1274</Paragraphs>
  <Slides>34</Slides>
  <Notes>34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4</vt:i4>
      </vt:variant>
    </vt:vector>
  </HeadingPairs>
  <TitlesOfParts>
    <vt:vector size="41" baseType="lpstr">
      <vt:lpstr>Arial</vt:lpstr>
      <vt:lpstr>Wingdings</vt:lpstr>
      <vt:lpstr>Times New Roman</vt:lpstr>
      <vt:lpstr>Calibri</vt:lpstr>
      <vt:lpstr>Arial Unicode MS</vt:lpstr>
      <vt:lpstr>Standarddesign</vt:lpstr>
      <vt:lpstr>TCLayout.ActiveDocument</vt:lpstr>
      <vt:lpstr>Implementación de un Sistema de Gestión a través de indicadores que midan el desempeño en el área de producción de una empresa cuya actividad económica es la venta de ropa por catálogo</vt:lpstr>
      <vt:lpstr>Tema Propuesto</vt:lpstr>
      <vt:lpstr>Empresa</vt:lpstr>
      <vt:lpstr>Empresa</vt:lpstr>
      <vt:lpstr>Marco Teórico</vt:lpstr>
      <vt:lpstr>Marco Teórico</vt:lpstr>
      <vt:lpstr>Área de estudio</vt:lpstr>
      <vt:lpstr>Diapositiva 8</vt:lpstr>
      <vt:lpstr>Situación actual de la empresa </vt:lpstr>
      <vt:lpstr>Propuesta de mejora</vt:lpstr>
      <vt:lpstr>Propuesta de mejora</vt:lpstr>
      <vt:lpstr>Propuesta de mejora</vt:lpstr>
      <vt:lpstr>Propuesta de mejora</vt:lpstr>
      <vt:lpstr>Propuesta de mejora</vt:lpstr>
      <vt:lpstr>Propuesta de mejora</vt:lpstr>
      <vt:lpstr>Propuesta de mejora</vt:lpstr>
      <vt:lpstr>Propuesta de mejora</vt:lpstr>
      <vt:lpstr>Propuesta de mejora</vt:lpstr>
      <vt:lpstr>Propuesta de mejora</vt:lpstr>
      <vt:lpstr>Propuesta de mejora</vt:lpstr>
      <vt:lpstr>Propuesta de mejora</vt:lpstr>
      <vt:lpstr>Propuesta de mejora</vt:lpstr>
      <vt:lpstr>Propuesta de mejora</vt:lpstr>
      <vt:lpstr>Propuesta de mejora</vt:lpstr>
      <vt:lpstr>Propuesta de mejora</vt:lpstr>
      <vt:lpstr>Propuesta de mejora</vt:lpstr>
      <vt:lpstr>Propuesta de mejora</vt:lpstr>
      <vt:lpstr>Propuesta de mejora</vt:lpstr>
      <vt:lpstr>Propuesta de mejora</vt:lpstr>
      <vt:lpstr>Propuesta de mejora</vt:lpstr>
      <vt:lpstr>Propuesta de mejora</vt:lpstr>
      <vt:lpstr>Conclusiones </vt:lpstr>
      <vt:lpstr>Recomendaciones </vt:lpstr>
      <vt:lpstr>Diapositiva 34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Inscale GmbH &amp; Co. KG</dc:creator>
  <cp:lastModifiedBy>ehernand</cp:lastModifiedBy>
  <cp:revision>552</cp:revision>
  <cp:lastPrinted>2005-03-15T07:48:11Z</cp:lastPrinted>
  <dcterms:created xsi:type="dcterms:W3CDTF">2004-11-16T16:03:16Z</dcterms:created>
  <dcterms:modified xsi:type="dcterms:W3CDTF">2011-07-13T18:19:17Z</dcterms:modified>
</cp:coreProperties>
</file>